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2"/>
  </p:sldMasterIdLst>
  <p:notesMasterIdLst>
    <p:notesMasterId r:id="rId50"/>
  </p:notesMasterIdLst>
  <p:handoutMasterIdLst>
    <p:handoutMasterId r:id="rId51"/>
  </p:handoutMasterIdLst>
  <p:sldIdLst>
    <p:sldId id="256" r:id="rId3"/>
    <p:sldId id="322" r:id="rId4"/>
    <p:sldId id="326" r:id="rId5"/>
    <p:sldId id="276" r:id="rId6"/>
    <p:sldId id="277" r:id="rId7"/>
    <p:sldId id="278" r:id="rId8"/>
    <p:sldId id="279" r:id="rId9"/>
    <p:sldId id="280" r:id="rId10"/>
    <p:sldId id="330" r:id="rId11"/>
    <p:sldId id="281" r:id="rId12"/>
    <p:sldId id="331" r:id="rId13"/>
    <p:sldId id="282" r:id="rId14"/>
    <p:sldId id="284" r:id="rId15"/>
    <p:sldId id="285" r:id="rId16"/>
    <p:sldId id="329" r:id="rId17"/>
    <p:sldId id="286" r:id="rId18"/>
    <p:sldId id="287" r:id="rId19"/>
    <p:sldId id="288" r:id="rId20"/>
    <p:sldId id="289" r:id="rId21"/>
    <p:sldId id="303" r:id="rId22"/>
    <p:sldId id="304" r:id="rId23"/>
    <p:sldId id="305" r:id="rId24"/>
    <p:sldId id="306" r:id="rId25"/>
    <p:sldId id="308" r:id="rId26"/>
    <p:sldId id="310" r:id="rId27"/>
    <p:sldId id="312" r:id="rId28"/>
    <p:sldId id="296" r:id="rId29"/>
    <p:sldId id="324" r:id="rId30"/>
    <p:sldId id="294" r:id="rId31"/>
    <p:sldId id="321" r:id="rId32"/>
    <p:sldId id="323" r:id="rId33"/>
    <p:sldId id="315" r:id="rId34"/>
    <p:sldId id="327" r:id="rId35"/>
    <p:sldId id="328" r:id="rId36"/>
    <p:sldId id="317" r:id="rId37"/>
    <p:sldId id="314" r:id="rId38"/>
    <p:sldId id="313" r:id="rId39"/>
    <p:sldId id="311" r:id="rId40"/>
    <p:sldId id="325" r:id="rId41"/>
    <p:sldId id="307" r:id="rId42"/>
    <p:sldId id="298" r:id="rId43"/>
    <p:sldId id="290" r:id="rId44"/>
    <p:sldId id="292" r:id="rId45"/>
    <p:sldId id="319" r:id="rId46"/>
    <p:sldId id="320" r:id="rId47"/>
    <p:sldId id="291" r:id="rId48"/>
    <p:sldId id="293" r:id="rId49"/>
  </p:sldIdLst>
  <p:sldSz cx="9144000" cy="6858000" type="screen4x3"/>
  <p:notesSz cx="6858000" cy="9144000"/>
  <p:embeddedFontLst>
    <p:embeddedFont>
      <p:font typeface="Bookman Old Style" panose="02050604050505020204" pitchFamily="18" charset="0"/>
      <p:regular r:id="rId52"/>
      <p:bold r:id="rId53"/>
      <p:italic r:id="rId54"/>
      <p:boldItalic r:id="rId55"/>
    </p:embeddedFont>
    <p:embeddedFont>
      <p:font typeface="Calibri" panose="020F0502020204030204" pitchFamily="34" charset="0"/>
      <p:regular r:id="rId56"/>
      <p:bold r:id="rId57"/>
      <p:italic r:id="rId58"/>
      <p:boldItalic r:id="rId59"/>
    </p:embeddedFont>
    <p:embeddedFont>
      <p:font typeface="MS PGothic" panose="020B0600070205080204" pitchFamily="34" charset="-128"/>
      <p:regular r:id="rId60"/>
    </p:embeddedFont>
    <p:embeddedFont>
      <p:font typeface="Cambria" panose="02040503050406030204" pitchFamily="18" charset="0"/>
      <p:regular r:id="rId61"/>
      <p:bold r:id="rId62"/>
      <p:italic r:id="rId63"/>
      <p:boldItalic r:id="rId64"/>
    </p:embeddedFont>
    <p:embeddedFont>
      <p:font typeface="MS Mincho" panose="02020609040205080304" pitchFamily="49" charset="-128"/>
      <p:regular r:id="rId65"/>
    </p:embeddedFont>
  </p:embeddedFontLst>
  <p:defaultTextStyle>
    <a:defPPr>
      <a:defRPr lang="en-US"/>
    </a:defPPr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3957" autoAdjust="0"/>
  </p:normalViewPr>
  <p:slideViewPr>
    <p:cSldViewPr>
      <p:cViewPr>
        <p:scale>
          <a:sx n="100" d="100"/>
          <a:sy n="100" d="100"/>
        </p:scale>
        <p:origin x="-1301" y="-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87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55" Type="http://schemas.openxmlformats.org/officeDocument/2006/relationships/font" Target="fonts/font4.fntdata"/><Relationship Id="rId63" Type="http://schemas.openxmlformats.org/officeDocument/2006/relationships/font" Target="fonts/font12.fntdata"/><Relationship Id="rId68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font" Target="fonts/font2.fntdata"/><Relationship Id="rId58" Type="http://schemas.openxmlformats.org/officeDocument/2006/relationships/font" Target="fonts/font7.fntdata"/><Relationship Id="rId66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font" Target="fonts/font6.fntdata"/><Relationship Id="rId61" Type="http://schemas.openxmlformats.org/officeDocument/2006/relationships/font" Target="fonts/font10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font" Target="fonts/font1.fntdata"/><Relationship Id="rId60" Type="http://schemas.openxmlformats.org/officeDocument/2006/relationships/font" Target="fonts/font9.fntdata"/><Relationship Id="rId65" Type="http://schemas.openxmlformats.org/officeDocument/2006/relationships/font" Target="fonts/font14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font" Target="fonts/font5.fntdata"/><Relationship Id="rId64" Type="http://schemas.openxmlformats.org/officeDocument/2006/relationships/font" Target="fonts/font13.fntdata"/><Relationship Id="rId69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font" Target="fonts/font8.fntdata"/><Relationship Id="rId67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font" Target="fonts/font3.fntdata"/><Relationship Id="rId62" Type="http://schemas.openxmlformats.org/officeDocument/2006/relationships/font" Target="fonts/font11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 latinLnBrk="0">
              <a:defRPr lang="pt-BR" sz="1200"/>
            </a:lvl1pPr>
          </a:lstStyle>
          <a:p>
            <a:endParaRPr lang="pt-B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 latinLnBrk="0">
              <a:defRPr lang="pt-BR" sz="1200"/>
            </a:lvl1pPr>
          </a:lstStyle>
          <a:p>
            <a:fld id="{9472DD5C-B6A9-4714-908F-0B8F74738B98}" type="datetimeFigureOut">
              <a:rPr lang="pt-BR" smtClean="0"/>
              <a:pPr/>
              <a:t>21/02/2014</a:t>
            </a:fld>
            <a:endParaRPr lang="pt-B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 latinLnBrk="0">
              <a:defRPr lang="pt-BR" sz="1200"/>
            </a:lvl1pPr>
          </a:lstStyle>
          <a:p>
            <a:endParaRPr lang="pt-B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 latinLnBrk="0">
              <a:defRPr lang="pt-BR" sz="1200"/>
            </a:lvl1pPr>
          </a:lstStyle>
          <a:p>
            <a:fld id="{7C1C90DE-A98B-4173-B17E-434F189FC4DB}" type="slidenum">
              <a:rPr lang="pt-BR" smtClean="0"/>
              <a:pPr/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80017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 latinLnBrk="0">
              <a:defRPr lang="pt-BR" sz="1200"/>
            </a:lvl1pPr>
          </a:lstStyle>
          <a:p>
            <a:endParaRPr lang="pt-B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 latinLnBrk="0">
              <a:defRPr lang="pt-BR" sz="1200"/>
            </a:lvl1pPr>
          </a:lstStyle>
          <a:p>
            <a:fld id="{193366E8-8A22-4400-BBA2-8D322280A6E8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pt-B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 latinLnBrk="0">
              <a:defRPr lang="pt-BR" sz="1200"/>
            </a:lvl1pPr>
          </a:lstStyle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 latinLnBrk="0">
              <a:defRPr lang="pt-BR" sz="1200"/>
            </a:lvl1pPr>
          </a:lstStyle>
          <a:p>
            <a:fld id="{3792D2CF-A01B-4515-8B40-3DC34258267A}" type="slidenum">
              <a:rPr/>
              <a:pPr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5943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 latinLnBrk="0">
      <a:defRPr lang="pt-BR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lang="pt-BR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</a:t>
            </a:fld>
            <a:endParaRPr lang="pt-BR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4</a:t>
            </a:fld>
            <a:endParaRPr lang="pt-B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6</a:t>
            </a:fld>
            <a:endParaRPr lang="pt-B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7</a:t>
            </a:fld>
            <a:endParaRPr lang="pt-B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8</a:t>
            </a:fld>
            <a:endParaRPr lang="pt-B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9</a:t>
            </a:fld>
            <a:endParaRPr lang="pt-B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pt-BR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altLang="pt-BR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t-BR" altLang="pt-BR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26</a:t>
            </a:fld>
            <a:endParaRPr lang="pt-BR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27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4</a:t>
            </a:fld>
            <a:endParaRPr lang="pt-BR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29</a:t>
            </a:fld>
            <a:endParaRPr lang="pt-BR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32</a:t>
            </a:fld>
            <a:endParaRPr lang="pt-BR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35</a:t>
            </a:fld>
            <a:endParaRPr lang="pt-BR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36</a:t>
            </a:fld>
            <a:endParaRPr lang="pt-BR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37</a:t>
            </a:fld>
            <a:endParaRPr lang="pt-BR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pt-BR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41</a:t>
            </a:fld>
            <a:endParaRPr lang="pt-BR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42</a:t>
            </a:fld>
            <a:endParaRPr lang="pt-BR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43</a:t>
            </a:fld>
            <a:endParaRPr lang="pt-BR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44</a:t>
            </a:fld>
            <a:endParaRPr lang="pt-BR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5</a:t>
            </a:fld>
            <a:endParaRPr lang="pt-BR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46</a:t>
            </a:fld>
            <a:endParaRPr lang="pt-BR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47</a:t>
            </a:fld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6</a:t>
            </a:fld>
            <a:endParaRPr 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7</a:t>
            </a:fld>
            <a:endParaRPr lang="pt-B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8</a:t>
            </a:fld>
            <a:endParaRPr lang="pt-BR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0</a:t>
            </a:fld>
            <a:endParaRPr lang="pt-B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2</a:t>
            </a:fld>
            <a:endParaRPr 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92D2CF-A01B-4515-8B40-3DC34258267A}" type="slidenum">
              <a:rPr lang="pt-BR" smtClean="0"/>
              <a:pPr/>
              <a:t>13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do Títul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574" y="0"/>
            <a:ext cx="9144000" cy="6858000"/>
            <a:chOff x="-1574" y="0"/>
            <a:chExt cx="9144000" cy="6858000"/>
          </a:xfrm>
        </p:grpSpPr>
        <p:pic>
          <p:nvPicPr>
            <p:cNvPr id="7" name="Rectangle 6"/>
            <p:cNvPicPr>
              <a:picLocks noChangeAspect="1"/>
            </p:cNvPicPr>
            <p:nvPr/>
          </p:nvPicPr>
          <p:blipFill>
            <a:blip r:embed="rId2">
              <a:duotone>
                <a:schemeClr val="accent1"/>
                <a:srgbClr val="FFFFFF"/>
              </a:duotone>
              <a:lum bright="-10000"/>
            </a:blip>
            <a:stretch>
              <a:fillRect/>
            </a:stretch>
          </p:blipFill>
          <p:spPr>
            <a:xfrm>
              <a:off x="-1574" y="381000"/>
              <a:ext cx="9144000" cy="609361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" name="Rectangle 10"/>
            <p:cNvSpPr/>
            <p:nvPr userDrawn="1"/>
          </p:nvSpPr>
          <p:spPr>
            <a:xfrm>
              <a:off x="-1574" y="0"/>
              <a:ext cx="9144000" cy="304800"/>
            </a:xfrm>
            <a:prstGeom prst="rect">
              <a:avLst/>
            </a:prstGeom>
            <a:solidFill>
              <a:schemeClr val="bg2"/>
            </a:soli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-1574" y="6553200"/>
              <a:ext cx="9144000" cy="304800"/>
            </a:xfrm>
            <a:prstGeom prst="rect">
              <a:avLst/>
            </a:prstGeom>
            <a:solidFill>
              <a:schemeClr val="bg2"/>
            </a:soli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-1574" y="381000"/>
              <a:ext cx="9144000" cy="1588"/>
            </a:xfrm>
            <a:prstGeom prst="line">
              <a:avLst/>
            </a:prstGeom>
            <a:ln w="38100" cap="flat" cmpd="sng" algn="ctr">
              <a:solidFill>
                <a:schemeClr val="accent1">
                  <a:shade val="75000"/>
                </a:schemeClr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-1574" y="6477000"/>
              <a:ext cx="9144000" cy="1588"/>
            </a:xfrm>
            <a:prstGeom prst="line">
              <a:avLst/>
            </a:prstGeom>
            <a:ln w="38100" cap="flat" cmpd="sng" algn="ctr">
              <a:solidFill>
                <a:schemeClr val="accent1">
                  <a:shade val="75000"/>
                </a:schemeClr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Shape 20"/>
          <p:cNvSpPr>
            <a:spLocks noGrp="1"/>
          </p:cNvSpPr>
          <p:nvPr>
            <p:ph type="title"/>
          </p:nvPr>
        </p:nvSpPr>
        <p:spPr>
          <a:xfrm>
            <a:off x="704850" y="4495800"/>
            <a:ext cx="7772400" cy="1362075"/>
          </a:xfrm>
          <a:prstGeom prst="rect">
            <a:avLst/>
          </a:prstGeom>
        </p:spPr>
        <p:txBody>
          <a:bodyPr anchor="t"/>
          <a:lstStyle>
            <a:lvl1pPr algn="ctr" latinLnBrk="0">
              <a:defRPr lang="pt-BR" sz="4000" b="0" cap="none" baseline="0">
                <a:solidFill>
                  <a:schemeClr val="tx1"/>
                </a:solidFill>
                <a:effectLst>
                  <a:outerShdw blurRad="50800" dist="50800" dir="2700000" algn="tl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667000"/>
            <a:ext cx="6400800" cy="1752600"/>
          </a:xfrm>
        </p:spPr>
        <p:txBody>
          <a:bodyPr anchor="b" anchorCtr="0"/>
          <a:lstStyle>
            <a:lvl1pPr marL="0" indent="0" algn="ctr" latinLnBrk="0">
              <a:buNone/>
              <a:defRPr lang="pt-BR">
                <a:solidFill>
                  <a:schemeClr val="bg2"/>
                </a:solidFill>
                <a:effectLst/>
              </a:defRPr>
            </a:lvl1pPr>
            <a:lvl2pPr marL="4572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 lang="pt-BR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8" descr="rio-logo-in-sphere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00113" cy="102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99592" y="1"/>
            <a:ext cx="8244408" cy="836712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none"/>
        </p:style>
        <p:txBody>
          <a:bodyPr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pt-BR" dirty="0" smtClean="0"/>
              <a:t>Clique para editar o estilo do título mestre</a:t>
            </a:r>
            <a:endParaRPr lang="pt-BR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5" name="Espaço Reservado para Número de Slide 1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DFC1A2-A03E-47AE-87E7-7ABF1C99DAC1}" type="slidenum">
              <a:rPr lang="pt-BR"/>
              <a:pPr>
                <a:defRPr/>
              </a:pPr>
              <a:t>‹#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506998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  <p:sp>
        <p:nvSpPr>
          <p:cNvPr id="7" name="Rectang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e Seçã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-1574" y="0"/>
            <a:ext cx="9145574" cy="6858000"/>
            <a:chOff x="-1574" y="0"/>
            <a:chExt cx="9145574" cy="6858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381000"/>
              <a:ext cx="9144000" cy="6096000"/>
            </a:xfrm>
            <a:prstGeom prst="rect">
              <a:avLst/>
            </a:prstGeom>
            <a:gradFill>
              <a:gsLst>
                <a:gs pos="0">
                  <a:schemeClr val="accent1">
                    <a:tint val="40000"/>
                  </a:schemeClr>
                </a:gs>
                <a:gs pos="100000">
                  <a:schemeClr val="accent1">
                    <a:shade val="75000"/>
                  </a:schemeClr>
                </a:gs>
              </a:gsLst>
              <a:path path="circle">
                <a:fillToRect l="100000" t="100000" r="100000" b="100000"/>
              </a:path>
            </a:gra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-1574" y="0"/>
              <a:ext cx="9144000" cy="304800"/>
            </a:xfrm>
            <a:prstGeom prst="rect">
              <a:avLst/>
            </a:prstGeom>
            <a:solidFill>
              <a:schemeClr val="bg2"/>
            </a:soli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-1574" y="6553200"/>
              <a:ext cx="9144000" cy="304800"/>
            </a:xfrm>
            <a:prstGeom prst="rect">
              <a:avLst/>
            </a:prstGeom>
            <a:solidFill>
              <a:schemeClr val="bg2"/>
            </a:soli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-1574" y="381000"/>
              <a:ext cx="9144000" cy="1588"/>
            </a:xfrm>
            <a:prstGeom prst="line">
              <a:avLst/>
            </a:prstGeom>
            <a:ln w="38100" cap="flat" cmpd="sng" algn="ctr">
              <a:solidFill>
                <a:schemeClr val="accent1">
                  <a:shade val="75000"/>
                </a:schemeClr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-1574" y="6477000"/>
              <a:ext cx="9144000" cy="1588"/>
            </a:xfrm>
            <a:prstGeom prst="line">
              <a:avLst/>
            </a:prstGeom>
            <a:ln w="38100" cap="flat" cmpd="sng" algn="ctr">
              <a:solidFill>
                <a:schemeClr val="accent1">
                  <a:shade val="75000"/>
                </a:schemeClr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hape 1"/>
          <p:cNvSpPr>
            <a:spLocks noGrp="1"/>
          </p:cNvSpPr>
          <p:nvPr>
            <p:ph type="title"/>
          </p:nvPr>
        </p:nvSpPr>
        <p:spPr>
          <a:xfrm>
            <a:off x="722313" y="4505325"/>
            <a:ext cx="7772400" cy="1362075"/>
          </a:xfrm>
          <a:prstGeom prst="rect">
            <a:avLst/>
          </a:prstGeom>
        </p:spPr>
        <p:txBody>
          <a:bodyPr anchor="t"/>
          <a:lstStyle>
            <a:lvl1pPr algn="ctr" latinLnBrk="0">
              <a:defRPr lang="pt-BR" sz="4000" b="0" cap="none" baseline="0">
                <a:solidFill>
                  <a:schemeClr val="tx1"/>
                </a:solidFill>
                <a:effectLst>
                  <a:outerShdw blurRad="50800" dist="50800" dir="2700000" algn="tl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 algn="ctr" latinLnBrk="0">
              <a:buNone/>
              <a:defRPr lang="pt-BR" sz="2800">
                <a:solidFill>
                  <a:schemeClr val="tx1"/>
                </a:solidFill>
              </a:defRPr>
            </a:lvl1pPr>
            <a:lvl2pPr marL="457200" indent="0">
              <a:buNone/>
              <a:defRPr lang="pt-BR"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lang="pt-BR"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lang="pt-BR"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lang="pt-BR"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lang="pt-BR"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lang="pt-BR"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lang="pt-BR"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lang="pt-BR"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</p:spTree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 latinLnBrk="0">
              <a:defRPr lang="pt-BR" sz="2800"/>
            </a:lvl1pPr>
            <a:lvl2pPr>
              <a:defRPr lang="pt-BR" sz="2400"/>
            </a:lvl2pPr>
            <a:lvl3pPr>
              <a:defRPr lang="pt-BR" sz="2000"/>
            </a:lvl3pPr>
            <a:lvl4pPr>
              <a:defRPr lang="pt-BR" sz="1800"/>
            </a:lvl4pPr>
            <a:lvl5pPr>
              <a:defRPr lang="pt-BR" sz="1800"/>
            </a:lvl5pPr>
            <a:lvl6pPr>
              <a:defRPr lang="pt-BR" sz="1800"/>
            </a:lvl6pPr>
            <a:lvl7pPr>
              <a:defRPr lang="pt-BR" sz="1800"/>
            </a:lvl7pPr>
            <a:lvl8pPr>
              <a:defRPr lang="pt-BR" sz="1800"/>
            </a:lvl8pPr>
            <a:lvl9pPr>
              <a:defRPr lang="pt-BR"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 latinLnBrk="0">
              <a:defRPr lang="pt-BR" sz="2800"/>
            </a:lvl1pPr>
            <a:lvl2pPr>
              <a:defRPr lang="pt-BR" sz="2400"/>
            </a:lvl2pPr>
            <a:lvl3pPr>
              <a:defRPr lang="pt-BR" sz="2000"/>
            </a:lvl3pPr>
            <a:lvl4pPr>
              <a:defRPr lang="pt-BR" sz="1800"/>
            </a:lvl4pPr>
            <a:lvl5pPr>
              <a:defRPr lang="pt-BR" sz="1800"/>
            </a:lvl5pPr>
            <a:lvl6pPr>
              <a:defRPr lang="pt-BR" sz="1800"/>
            </a:lvl6pPr>
            <a:lvl7pPr>
              <a:defRPr lang="pt-BR" sz="1800"/>
            </a:lvl7pPr>
            <a:lvl8pPr>
              <a:defRPr lang="pt-BR" sz="1800"/>
            </a:lvl8pPr>
            <a:lvl9pPr>
              <a:defRPr lang="pt-BR"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  <p:sp>
        <p:nvSpPr>
          <p:cNvPr id="8" name="Rectang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 latinLnBrk="0">
              <a:buNone/>
              <a:defRPr lang="pt-BR" sz="2400" b="0">
                <a:solidFill>
                  <a:schemeClr val="tx2"/>
                </a:solidFill>
              </a:defRPr>
            </a:lvl1pPr>
            <a:lvl2pPr marL="457200" indent="0">
              <a:buNone/>
              <a:defRPr lang="pt-BR" sz="2000" b="1"/>
            </a:lvl2pPr>
            <a:lvl3pPr marL="914400" indent="0">
              <a:buNone/>
              <a:defRPr lang="pt-BR" sz="1800" b="1"/>
            </a:lvl3pPr>
            <a:lvl4pPr marL="1371600" indent="0">
              <a:buNone/>
              <a:defRPr lang="pt-BR" sz="1600" b="1"/>
            </a:lvl4pPr>
            <a:lvl5pPr marL="1828800" indent="0">
              <a:buNone/>
              <a:defRPr lang="pt-BR" sz="1600" b="1"/>
            </a:lvl5pPr>
            <a:lvl6pPr marL="2286000" indent="0">
              <a:buNone/>
              <a:defRPr lang="pt-BR" sz="1600" b="1"/>
            </a:lvl6pPr>
            <a:lvl7pPr marL="2743200" indent="0">
              <a:buNone/>
              <a:defRPr lang="pt-BR" sz="1600" b="1"/>
            </a:lvl7pPr>
            <a:lvl8pPr marL="3200400" indent="0">
              <a:buNone/>
              <a:defRPr lang="pt-BR" sz="1600" b="1"/>
            </a:lvl8pPr>
            <a:lvl9pPr marL="3657600" indent="0">
              <a:buNone/>
              <a:defRPr lang="pt-BR"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 latinLnBrk="0">
              <a:defRPr lang="pt-BR" sz="2400"/>
            </a:lvl1pPr>
            <a:lvl2pPr>
              <a:defRPr lang="pt-BR" sz="2000"/>
            </a:lvl2pPr>
            <a:lvl3pPr>
              <a:defRPr lang="pt-BR" sz="1800"/>
            </a:lvl3pPr>
            <a:lvl4pPr>
              <a:defRPr lang="pt-BR" sz="1600"/>
            </a:lvl4pPr>
            <a:lvl5pPr>
              <a:defRPr lang="pt-BR" sz="1600"/>
            </a:lvl5pPr>
            <a:lvl6pPr>
              <a:defRPr lang="pt-BR" sz="1600"/>
            </a:lvl6pPr>
            <a:lvl7pPr>
              <a:defRPr lang="pt-BR" sz="1600"/>
            </a:lvl7pPr>
            <a:lvl8pPr>
              <a:defRPr lang="pt-BR" sz="1600"/>
            </a:lvl8pPr>
            <a:lvl9pPr>
              <a:defRPr lang="pt-BR"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 latinLnBrk="0">
              <a:buNone/>
              <a:defRPr lang="pt-BR" sz="2400" b="0">
                <a:solidFill>
                  <a:schemeClr val="tx2"/>
                </a:solidFill>
              </a:defRPr>
            </a:lvl1pPr>
            <a:lvl2pPr marL="457200" indent="0">
              <a:buNone/>
              <a:defRPr lang="pt-BR" sz="2000" b="1"/>
            </a:lvl2pPr>
            <a:lvl3pPr marL="914400" indent="0">
              <a:buNone/>
              <a:defRPr lang="pt-BR" sz="1800" b="1"/>
            </a:lvl3pPr>
            <a:lvl4pPr marL="1371600" indent="0">
              <a:buNone/>
              <a:defRPr lang="pt-BR" sz="1600" b="1"/>
            </a:lvl4pPr>
            <a:lvl5pPr marL="1828800" indent="0">
              <a:buNone/>
              <a:defRPr lang="pt-BR" sz="1600" b="1"/>
            </a:lvl5pPr>
            <a:lvl6pPr marL="2286000" indent="0">
              <a:buNone/>
              <a:defRPr lang="pt-BR" sz="1600" b="1"/>
            </a:lvl6pPr>
            <a:lvl7pPr marL="2743200" indent="0">
              <a:buNone/>
              <a:defRPr lang="pt-BR" sz="1600" b="1"/>
            </a:lvl7pPr>
            <a:lvl8pPr marL="3200400" indent="0">
              <a:buNone/>
              <a:defRPr lang="pt-BR" sz="1600" b="1"/>
            </a:lvl8pPr>
            <a:lvl9pPr marL="3657600" indent="0">
              <a:buNone/>
              <a:defRPr lang="pt-BR"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 latinLnBrk="0">
              <a:defRPr lang="pt-BR" sz="2400"/>
            </a:lvl1pPr>
            <a:lvl2pPr>
              <a:defRPr lang="pt-BR" sz="2000"/>
            </a:lvl2pPr>
            <a:lvl3pPr>
              <a:defRPr lang="pt-BR" sz="1800"/>
            </a:lvl3pPr>
            <a:lvl4pPr>
              <a:defRPr lang="pt-BR" sz="1600"/>
            </a:lvl4pPr>
            <a:lvl5pPr>
              <a:defRPr lang="pt-BR" sz="1600"/>
            </a:lvl5pPr>
            <a:lvl6pPr>
              <a:defRPr lang="pt-BR" sz="1600"/>
            </a:lvl6pPr>
            <a:lvl7pPr>
              <a:defRPr lang="pt-BR" sz="1600"/>
            </a:lvl7pPr>
            <a:lvl8pPr>
              <a:defRPr lang="pt-BR" sz="1600"/>
            </a:lvl8pPr>
            <a:lvl9pPr>
              <a:defRPr lang="pt-BR"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  <p:sp>
        <p:nvSpPr>
          <p:cNvPr id="10" name="Rectang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  <p:sp>
        <p:nvSpPr>
          <p:cNvPr id="6" name="Rectang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1"/>
            <a:ext cx="5111750" cy="4525963"/>
          </a:xfrm>
        </p:spPr>
        <p:txBody>
          <a:bodyPr/>
          <a:lstStyle>
            <a:lvl1pPr latinLnBrk="0">
              <a:defRPr lang="pt-BR" sz="3200">
                <a:solidFill>
                  <a:schemeClr val="tx1"/>
                </a:solidFill>
              </a:defRPr>
            </a:lvl1pPr>
            <a:lvl2pPr>
              <a:defRPr lang="pt-BR" sz="2800"/>
            </a:lvl2pPr>
            <a:lvl3pPr>
              <a:defRPr lang="pt-BR" sz="2400"/>
            </a:lvl3pPr>
            <a:lvl4pPr>
              <a:defRPr lang="pt-BR" sz="2000"/>
            </a:lvl4pPr>
            <a:lvl5pPr>
              <a:defRPr lang="pt-BR" sz="2000"/>
            </a:lvl5pPr>
            <a:lvl6pPr>
              <a:defRPr lang="pt-BR" sz="2000"/>
            </a:lvl6pPr>
            <a:lvl7pPr>
              <a:defRPr lang="pt-BR" sz="2000"/>
            </a:lvl7pPr>
            <a:lvl8pPr>
              <a:defRPr lang="pt-BR" sz="2000"/>
            </a:lvl8pPr>
            <a:lvl9pPr>
              <a:defRPr lang="pt-BR"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600201"/>
            <a:ext cx="3008313" cy="4525963"/>
          </a:xfrm>
        </p:spPr>
        <p:txBody>
          <a:bodyPr/>
          <a:lstStyle>
            <a:lvl1pPr marL="0" indent="0" latinLnBrk="0">
              <a:buNone/>
              <a:defRPr lang="pt-BR" sz="1400"/>
            </a:lvl1pPr>
            <a:lvl2pPr marL="457200" indent="0">
              <a:buNone/>
              <a:defRPr lang="pt-BR" sz="1200"/>
            </a:lvl2pPr>
            <a:lvl3pPr marL="914400" indent="0">
              <a:buNone/>
              <a:defRPr lang="pt-BR" sz="1000"/>
            </a:lvl3pPr>
            <a:lvl4pPr marL="1371600" indent="0">
              <a:buNone/>
              <a:defRPr lang="pt-BR" sz="900"/>
            </a:lvl4pPr>
            <a:lvl5pPr marL="1828800" indent="0">
              <a:buNone/>
              <a:defRPr lang="pt-BR" sz="900"/>
            </a:lvl5pPr>
            <a:lvl6pPr marL="2286000" indent="0">
              <a:buNone/>
              <a:defRPr lang="pt-BR" sz="900"/>
            </a:lvl6pPr>
            <a:lvl7pPr marL="2743200" indent="0">
              <a:buNone/>
              <a:defRPr lang="pt-BR" sz="900"/>
            </a:lvl7pPr>
            <a:lvl8pPr marL="3200400" indent="0">
              <a:buNone/>
              <a:defRPr lang="pt-BR" sz="900"/>
            </a:lvl8pPr>
            <a:lvl9pPr marL="3657600" indent="0">
              <a:buNone/>
              <a:defRPr lang="pt-BR"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  <p:sp>
        <p:nvSpPr>
          <p:cNvPr id="9" name="Rectang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 latinLnBrk="0">
              <a:defRPr lang="pt-BR" sz="2000" b="0">
                <a:solidFill>
                  <a:schemeClr val="tx1"/>
                </a:solidFill>
              </a:defRPr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 latinLnBrk="0">
              <a:buNone/>
              <a:defRPr lang="pt-BR" sz="3200"/>
            </a:lvl1pPr>
            <a:lvl2pPr marL="457200" indent="0">
              <a:buNone/>
              <a:defRPr lang="pt-BR" sz="2800"/>
            </a:lvl2pPr>
            <a:lvl3pPr marL="914400" indent="0">
              <a:buNone/>
              <a:defRPr lang="pt-BR" sz="2400"/>
            </a:lvl3pPr>
            <a:lvl4pPr marL="1371600" indent="0">
              <a:buNone/>
              <a:defRPr lang="pt-BR" sz="2000"/>
            </a:lvl4pPr>
            <a:lvl5pPr marL="1828800" indent="0">
              <a:buNone/>
              <a:defRPr lang="pt-BR" sz="2000"/>
            </a:lvl5pPr>
            <a:lvl6pPr marL="2286000" indent="0">
              <a:buNone/>
              <a:defRPr lang="pt-BR" sz="2000"/>
            </a:lvl6pPr>
            <a:lvl7pPr marL="2743200" indent="0">
              <a:buNone/>
              <a:defRPr lang="pt-BR" sz="2000"/>
            </a:lvl7pPr>
            <a:lvl8pPr marL="3200400" indent="0">
              <a:buNone/>
              <a:defRPr lang="pt-BR" sz="2000"/>
            </a:lvl8pPr>
            <a:lvl9pPr marL="3657600" indent="0">
              <a:buNone/>
              <a:defRPr lang="pt-BR" sz="2000"/>
            </a:lvl9pPr>
          </a:lstStyle>
          <a:p>
            <a:r>
              <a:rPr lang="pt-BR" smtClean="0"/>
              <a:t>Clique no ícone para adicionar uma imagem</a:t>
            </a:r>
            <a:endParaRPr lang="pt-B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 latinLnBrk="0">
              <a:buNone/>
              <a:defRPr lang="pt-BR" sz="1400"/>
            </a:lvl1pPr>
            <a:lvl2pPr marL="457200" indent="0">
              <a:buNone/>
              <a:defRPr lang="pt-BR" sz="1200"/>
            </a:lvl2pPr>
            <a:lvl3pPr marL="914400" indent="0">
              <a:buNone/>
              <a:defRPr lang="pt-BR" sz="1000"/>
            </a:lvl3pPr>
            <a:lvl4pPr marL="1371600" indent="0">
              <a:buNone/>
              <a:defRPr lang="pt-BR" sz="900"/>
            </a:lvl4pPr>
            <a:lvl5pPr marL="1828800" indent="0">
              <a:buNone/>
              <a:defRPr lang="pt-BR" sz="900"/>
            </a:lvl5pPr>
            <a:lvl6pPr marL="2286000" indent="0">
              <a:buNone/>
              <a:defRPr lang="pt-BR" sz="900"/>
            </a:lvl6pPr>
            <a:lvl7pPr marL="2743200" indent="0">
              <a:buNone/>
              <a:defRPr lang="pt-BR" sz="900"/>
            </a:lvl7pPr>
            <a:lvl8pPr marL="3200400" indent="0">
              <a:buNone/>
              <a:defRPr lang="pt-BR" sz="900"/>
            </a:lvl8pPr>
            <a:lvl9pPr marL="3657600" indent="0">
              <a:buNone/>
              <a:defRPr lang="pt-BR"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</p:spTree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0" y="0"/>
            <a:ext cx="9144000" cy="1506538"/>
            <a:chOff x="0" y="0"/>
            <a:chExt cx="9144000" cy="1506538"/>
          </a:xfrm>
        </p:grpSpPr>
        <p:pic>
          <p:nvPicPr>
            <p:cNvPr id="7" name="Rectangle 6"/>
            <p:cNvPicPr>
              <a:picLocks noChangeAspect="1"/>
            </p:cNvPicPr>
            <p:nvPr/>
          </p:nvPicPr>
          <p:blipFill>
            <a:blip r:embed="rId12">
              <a:duotone>
                <a:schemeClr val="accent1"/>
                <a:srgbClr val="FFFFFF"/>
              </a:duotone>
            </a:blip>
            <a:srcRect/>
            <a:stretch>
              <a:fillRect/>
            </a:stretch>
          </p:blipFill>
          <p:spPr>
            <a:xfrm>
              <a:off x="0" y="1"/>
              <a:ext cx="9144000" cy="141922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" name="Rectangle 9"/>
            <p:cNvSpPr/>
            <p:nvPr userDrawn="1"/>
          </p:nvSpPr>
          <p:spPr>
            <a:xfrm>
              <a:off x="0" y="0"/>
              <a:ext cx="9144000" cy="14478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49000">
                  <a:schemeClr val="accent1">
                    <a:tint val="20000"/>
                    <a:alpha val="0"/>
                  </a:schemeClr>
                </a:gs>
              </a:gsLst>
              <a:lin ang="0" scaled="1"/>
              <a:tileRect/>
            </a:gradFill>
            <a:ln w="25400" cap="rnd" cmpd="sng" algn="ctr">
              <a:noFill/>
              <a:prstDash val="solid"/>
            </a:ln>
          </p:spPr>
          <p:style>
            <a:lnRef idx="2">
              <a:schemeClr val="accent1"/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0" y="1428750"/>
              <a:ext cx="9144000" cy="1588"/>
            </a:xfrm>
            <a:prstGeom prst="line">
              <a:avLst/>
            </a:prstGeom>
            <a:ln w="38100" cap="flat" cmpd="sng" algn="ctr">
              <a:solidFill>
                <a:schemeClr val="accent1">
                  <a:shade val="75000"/>
                </a:schemeClr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1504950"/>
              <a:ext cx="9144000" cy="1588"/>
            </a:xfrm>
            <a:prstGeom prst="line">
              <a:avLst/>
            </a:prstGeom>
            <a:ln w="15875" cap="flat" cmpd="sng" algn="ctr">
              <a:solidFill>
                <a:schemeClr val="tx1"/>
              </a:solidFill>
              <a:prstDash val="solid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rtlCol="0" anchor="ctr"/>
          <a:lstStyle>
            <a:lvl1pPr algn="l" latinLnBrk="0">
              <a:defRPr lang="pt-B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70D0AA-A564-40E6-BDF9-FE3371FD07B4}" type="datetimeFigureOut">
              <a:rPr lang="en-US"/>
              <a:pPr/>
              <a:t>2/21/2014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rtlCol="0" anchor="ctr"/>
          <a:lstStyle>
            <a:lvl1pPr algn="ctr" latinLnBrk="0">
              <a:defRPr lang="pt-B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rtlCol="0" anchor="ctr"/>
          <a:lstStyle>
            <a:lvl1pPr algn="r" latinLnBrk="0">
              <a:defRPr lang="pt-BR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1D2430-FB11-4C87-BF1D-6F488A17F237}" type="slidenum">
              <a:rPr/>
              <a:pPr/>
              <a:t>‹#›</a:t>
            </a:fld>
            <a:endParaRPr lang="pt-BR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265238"/>
          </a:xfrm>
          <a:prstGeom prst="rect">
            <a:avLst/>
          </a:prstGeom>
        </p:spPr>
        <p:txBody>
          <a:bodyPr vert="horz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transition spd="slow">
    <p:fade/>
  </p:transition>
  <p:txStyles>
    <p:titleStyle>
      <a:lvl1pPr algn="l" rtl="0" eaLnBrk="1" latinLnBrk="0" hangingPunct="1">
        <a:spcBef>
          <a:spcPct val="0"/>
        </a:spcBef>
        <a:buNone/>
        <a:defRPr kumimoji="0" lang="pt-BR" sz="4000" b="0" i="0" u="none" strike="noStrike" kern="1200" cap="none" spc="0" normalizeH="0" baseline="0">
          <a:ln>
            <a:noFill/>
          </a:ln>
          <a:solidFill>
            <a:schemeClr val="tx1"/>
          </a:solidFill>
          <a:effectLst>
            <a:outerShdw blurRad="50800" dist="50800" dir="2700000" algn="tl" rotWithShape="0">
              <a:srgbClr val="000000">
                <a:alpha val="43137"/>
              </a:srgbClr>
            </a:outerShdw>
          </a:effectLst>
          <a:uLnTx/>
          <a:uFillTx/>
          <a:latin typeface="+mj-lt"/>
          <a:ea typeface="+mj-ea"/>
          <a:cs typeface="+mj-cs"/>
        </a:defRPr>
      </a:lvl1pPr>
    </p:titleStyle>
    <p:bodyStyle>
      <a:lvl1pPr marL="342900" indent="-342900" algn="l" rtl="0" eaLnBrk="1" latinLnBrk="0" hangingPunct="1">
        <a:spcBef>
          <a:spcPct val="20000"/>
        </a:spcBef>
        <a:spcAft>
          <a:spcPts val="400"/>
        </a:spcAft>
        <a:buFont typeface="Arial"/>
        <a:buChar char="•"/>
        <a:defRPr lang="pt-BR" sz="2800" kern="1200">
          <a:solidFill>
            <a:schemeClr val="tx1"/>
          </a:solidFill>
          <a:effectLst>
            <a:outerShdw blurRad="50800" dist="50800" dir="2700000" algn="tl" rotWithShape="0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1pPr>
      <a:lvl2pPr marL="742950" indent="-285750" algn="l" rtl="0" eaLnBrk="1" latinLnBrk="0" hangingPunct="1">
        <a:spcBef>
          <a:spcPct val="20000"/>
        </a:spcBef>
        <a:buFont typeface="Arial"/>
        <a:buChar char="–"/>
        <a:defRPr lang="pt-BR" sz="2400" kern="1200">
          <a:solidFill>
            <a:schemeClr val="tx1"/>
          </a:solidFill>
          <a:effectLst>
            <a:outerShdw blurRad="50800" dist="50800" dir="2700000" algn="tl" rotWithShape="0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rtl="0" eaLnBrk="1" latinLnBrk="0" hangingPunct="1">
        <a:spcBef>
          <a:spcPct val="20000"/>
        </a:spcBef>
        <a:buFont typeface="Arial"/>
        <a:buChar char="•"/>
        <a:defRPr lang="pt-BR" sz="2000" kern="1200">
          <a:solidFill>
            <a:schemeClr val="tx1"/>
          </a:solidFill>
          <a:effectLst>
            <a:outerShdw blurRad="50800" dist="50800" dir="2700000" algn="tl" rotWithShape="0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rtl="0" eaLnBrk="1" latinLnBrk="0" hangingPunct="1">
        <a:spcBef>
          <a:spcPct val="20000"/>
        </a:spcBef>
        <a:buFont typeface="Arial"/>
        <a:buChar char="–"/>
        <a:defRPr lang="pt-BR" sz="1800" kern="1200">
          <a:solidFill>
            <a:schemeClr val="tx1"/>
          </a:solidFill>
          <a:effectLst>
            <a:outerShdw blurRad="50800" dist="50800" dir="2700000" algn="tl" rotWithShape="0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rtl="0" eaLnBrk="1" latinLnBrk="0" hangingPunct="1">
        <a:spcBef>
          <a:spcPct val="20000"/>
        </a:spcBef>
        <a:buFont typeface="Arial"/>
        <a:buChar char="»"/>
        <a:defRPr lang="pt-BR" sz="1800" kern="1200">
          <a:solidFill>
            <a:schemeClr val="tx1"/>
          </a:solidFill>
          <a:effectLst>
            <a:outerShdw blurRad="50800" dist="50800" dir="2700000" algn="tl" rotWithShape="0">
              <a:srgbClr val="000000">
                <a:alpha val="43137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Font typeface="Arial"/>
        <a:buChar char="•"/>
        <a:defRPr lang="pt-BR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Font typeface="Arial"/>
        <a:buChar char="•"/>
        <a:defRPr lang="pt-BR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Font typeface="Arial"/>
        <a:buChar char="•"/>
        <a:defRPr lang="pt-BR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Font typeface="Arial"/>
        <a:buChar char="•"/>
        <a:defRPr lang="pt-BR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 lang="pt-BR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2108448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pt-BR" sz="4000" b="1" dirty="0" smtClean="0">
                <a:latin typeface="+mj-lt"/>
                <a:cs typeface="Calibri" pitchFamily="34" charset="0"/>
              </a:rPr>
              <a:t>Dynamics and Results of Rio de Janeiro’s Education Reforms </a:t>
            </a:r>
          </a:p>
          <a:p>
            <a:r>
              <a:rPr lang="pt-BR" sz="4000" b="1" dirty="0" smtClean="0">
                <a:latin typeface="+mj-lt"/>
                <a:cs typeface="Calibri" pitchFamily="34" charset="0"/>
              </a:rPr>
              <a:t>2009-2014</a:t>
            </a:r>
            <a:endParaRPr lang="pt-BR" sz="4000" b="1" dirty="0">
              <a:latin typeface="+mj-lt"/>
              <a:cs typeface="Calibri" pitchFamily="34" charset="0"/>
            </a:endParaRPr>
          </a:p>
        </p:txBody>
      </p:sp>
      <p:sp>
        <p:nvSpPr>
          <p:cNvPr id="10" name="Rectangle 9"/>
          <p:cNvSpPr>
            <a:spLocks noGrp="1"/>
          </p:cNvSpPr>
          <p:nvPr>
            <p:ph type="title"/>
          </p:nvPr>
        </p:nvSpPr>
        <p:spPr>
          <a:xfrm>
            <a:off x="704850" y="3861048"/>
            <a:ext cx="7772400" cy="1362075"/>
          </a:xfrm>
        </p:spPr>
        <p:txBody>
          <a:bodyPr>
            <a:normAutofit/>
          </a:bodyPr>
          <a:lstStyle/>
          <a:p>
            <a:r>
              <a:rPr lang="pt-BR" sz="3200" dirty="0"/>
              <a:t>C</a:t>
            </a:r>
            <a:r>
              <a:rPr lang="pt-BR" sz="3200" dirty="0" smtClean="0"/>
              <a:t>laudia Costin</a:t>
            </a:r>
            <a:br>
              <a:rPr lang="pt-BR" sz="3200" dirty="0" smtClean="0"/>
            </a:br>
            <a:r>
              <a:rPr lang="pt-BR" sz="3200" dirty="0" smtClean="0"/>
              <a:t>Secretary of Education</a:t>
            </a:r>
            <a:endParaRPr lang="pt-BR" sz="32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text in 2009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28,000 students in 4th, 5th, and 6th grades (14%) were functionally illiterate</a:t>
            </a:r>
          </a:p>
          <a:p>
            <a:r>
              <a:rPr lang="en-US" dirty="0" smtClean="0"/>
              <a:t>40% performing below grade level in Math</a:t>
            </a:r>
          </a:p>
          <a:p>
            <a:r>
              <a:rPr lang="en-US" dirty="0" smtClean="0"/>
              <a:t>Lack of clear policies (curriculum, teacher training, assessment, learning reinforcement)</a:t>
            </a:r>
          </a:p>
          <a:p>
            <a:r>
              <a:rPr lang="en-US" dirty="0" smtClean="0"/>
              <a:t>De-motivation among teachers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654543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wb13414\Documents\Documents\PICTURES\Rio education GENTE\17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5328"/>
            <a:ext cx="9144000" cy="6720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6112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Context in 2009</a:t>
            </a:r>
            <a:endParaRPr lang="en-US" sz="3600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eacher shortages in elementary and middle schools and shortage of caregivers for early childhood education</a:t>
            </a:r>
          </a:p>
          <a:p>
            <a:r>
              <a:rPr lang="en-US" dirty="0" smtClean="0"/>
              <a:t>Low involvement of parents in their kids’ education</a:t>
            </a:r>
          </a:p>
          <a:p>
            <a:r>
              <a:rPr lang="en-US" dirty="0" smtClean="0"/>
              <a:t>Areas controlled by drug traffickers or militias had double the average dropout rate and much lower test scores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571495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1556792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en-US" sz="4000" b="1" dirty="0" smtClean="0">
                <a:latin typeface="+mj-lt"/>
                <a:cs typeface="Calibri" pitchFamily="34" charset="0"/>
              </a:rPr>
              <a:t>How to Increase Quality Fast</a:t>
            </a:r>
            <a:endParaRPr lang="en-US" sz="4000" b="1" dirty="0">
              <a:latin typeface="+mj-lt"/>
              <a:cs typeface="Calibri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9"/>
          <p:cNvSpPr>
            <a:spLocks noGrp="1"/>
          </p:cNvSpPr>
          <p:nvPr>
            <p:ph type="title"/>
          </p:nvPr>
        </p:nvSpPr>
        <p:spPr>
          <a:xfrm>
            <a:off x="704850" y="3429000"/>
            <a:ext cx="7772400" cy="1362075"/>
          </a:xfrm>
        </p:spPr>
        <p:txBody>
          <a:bodyPr>
            <a:normAutofit/>
          </a:bodyPr>
          <a:lstStyle/>
          <a:p>
            <a:r>
              <a:rPr lang="en-US" sz="3200" dirty="0" smtClean="0"/>
              <a:t>Our strategy, our </a:t>
            </a:r>
            <a:r>
              <a:rPr lang="en-US" sz="3200" dirty="0" err="1" smtClean="0"/>
              <a:t>implematation</a:t>
            </a:r>
            <a:r>
              <a:rPr lang="en-US" sz="3200" dirty="0" smtClean="0"/>
              <a:t> </a:t>
            </a:r>
            <a:br>
              <a:rPr lang="en-US" sz="3200" dirty="0" smtClean="0"/>
            </a:br>
            <a:r>
              <a:rPr lang="en-US" sz="3200" dirty="0" smtClean="0"/>
              <a:t>and  the result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44020092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First Actions</a:t>
            </a:r>
            <a:endParaRPr lang="en-US" sz="3600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esign of an integrated intervention program to ensure learning</a:t>
            </a:r>
          </a:p>
          <a:p>
            <a:r>
              <a:rPr lang="en-US" dirty="0" smtClean="0"/>
              <a:t>Big effort to promote civil society participation and social control:</a:t>
            </a:r>
          </a:p>
          <a:p>
            <a:pPr lvl="1"/>
            <a:r>
              <a:rPr lang="en-US" dirty="0" smtClean="0"/>
              <a:t>Monthly meetings with Parents’ Councils</a:t>
            </a:r>
          </a:p>
          <a:p>
            <a:pPr lvl="1"/>
            <a:r>
              <a:rPr lang="en-US" dirty="0" smtClean="0"/>
              <a:t>“</a:t>
            </a:r>
            <a:r>
              <a:rPr lang="en-US" dirty="0" err="1" smtClean="0"/>
              <a:t>Parceiros</a:t>
            </a:r>
            <a:r>
              <a:rPr lang="en-US" dirty="0" smtClean="0"/>
              <a:t> da </a:t>
            </a:r>
            <a:r>
              <a:rPr lang="en-US" dirty="0" err="1" smtClean="0"/>
              <a:t>Educação</a:t>
            </a:r>
            <a:r>
              <a:rPr lang="en-US" dirty="0" smtClean="0"/>
              <a:t> Carioca”</a:t>
            </a:r>
          </a:p>
          <a:p>
            <a:r>
              <a:rPr lang="en-US" dirty="0" smtClean="0"/>
              <a:t>Major initiative for schools situated in violent areas – </a:t>
            </a:r>
            <a:r>
              <a:rPr lang="en-US" i="1" dirty="0" smtClean="0"/>
              <a:t>Schools of Tomorrow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454751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71346"/>
            <a:ext cx="9144000" cy="5886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67544" y="116632"/>
            <a:ext cx="849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 smtClean="0"/>
              <a:t>Escola do Amanhã Thomas Jefferson</a:t>
            </a:r>
            <a:endParaRPr lang="pt-BR" sz="3600" dirty="0"/>
          </a:p>
        </p:txBody>
      </p:sp>
    </p:spTree>
    <p:extLst>
      <p:ext uri="{BB962C8B-B14F-4D97-AF65-F5344CB8AC3E}">
        <p14:creationId xmlns:p14="http://schemas.microsoft.com/office/powerpoint/2010/main" val="134445760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First Actions</a:t>
            </a:r>
            <a:endParaRPr lang="en-US" sz="3600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Created a clear set of curriculum guidelines;</a:t>
            </a:r>
          </a:p>
          <a:p>
            <a:r>
              <a:rPr lang="en-US" dirty="0" smtClean="0"/>
              <a:t>Established Portuguese, Math, Science and Writing tests which happen every 2 months;</a:t>
            </a:r>
          </a:p>
          <a:p>
            <a:r>
              <a:rPr lang="en-US" dirty="0" smtClean="0"/>
              <a:t>Got teachers’ involvement in decision-making;</a:t>
            </a:r>
          </a:p>
          <a:p>
            <a:r>
              <a:rPr lang="en-US" dirty="0" smtClean="0"/>
              <a:t>Established separate tracks for illiterate and/or older students – intensive tutoring;</a:t>
            </a:r>
          </a:p>
          <a:p>
            <a:r>
              <a:rPr lang="en-US" dirty="0" smtClean="0"/>
              <a:t>Increased the number of school (learning) hours;</a:t>
            </a:r>
          </a:p>
          <a:p>
            <a:r>
              <a:rPr lang="en-US" dirty="0" smtClean="0"/>
              <a:t>Constant monitoring of school results – especially academic achievement and dropout rates </a:t>
            </a:r>
          </a:p>
          <a:p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Accountability for results: quarterly meetings with district supervisors and school directors to review progress, school by school 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19909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First Actions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Focused on 4 areas: reading skills (1st and 2nd grades), learning reinforcement, middle school, and early childhood education;</a:t>
            </a:r>
          </a:p>
          <a:p>
            <a:endParaRPr lang="en-US" dirty="0" smtClean="0"/>
          </a:p>
          <a:p>
            <a:r>
              <a:rPr lang="en-US" dirty="0" smtClean="0"/>
              <a:t>Signed annual management contracts with schools establishing goals for learning improvement and dropout rates;</a:t>
            </a:r>
          </a:p>
          <a:p>
            <a:endParaRPr lang="en-US" dirty="0" smtClean="0"/>
          </a:p>
          <a:p>
            <a:r>
              <a:rPr lang="en-US" dirty="0" smtClean="0"/>
              <a:t>Rewarded school teams that reached the goals – one extra monthly salary per year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787126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97390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irst Results: IDEB &amp; </a:t>
            </a:r>
            <a:r>
              <a:rPr lang="pt-BR" i="1" dirty="0" smtClean="0"/>
              <a:t>Prova Brasil</a:t>
            </a:r>
            <a:endParaRPr lang="pt-BR" i="1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en-US" dirty="0" smtClean="0"/>
              <a:t>IDEB = </a:t>
            </a:r>
            <a:r>
              <a:rPr lang="pt-BR" i="1" dirty="0" smtClean="0"/>
              <a:t>prova Brasil </a:t>
            </a:r>
            <a:r>
              <a:rPr lang="en-US" dirty="0" smtClean="0"/>
              <a:t>+ student promotion rate</a:t>
            </a:r>
          </a:p>
          <a:p>
            <a:pPr lvl="1"/>
            <a:r>
              <a:rPr lang="en-US" dirty="0" smtClean="0"/>
              <a:t>End of social promotion = initial decrease in IDEB in middle school due to increase in retention</a:t>
            </a:r>
          </a:p>
          <a:p>
            <a:pPr lvl="1"/>
            <a:endParaRPr lang="en-US" dirty="0" smtClean="0"/>
          </a:p>
          <a:p>
            <a:r>
              <a:rPr lang="pt-BR" i="1" dirty="0" smtClean="0"/>
              <a:t>Prova Brasil </a:t>
            </a:r>
            <a:r>
              <a:rPr lang="en-US" dirty="0" smtClean="0"/>
              <a:t>scores for final years improved consistently:</a:t>
            </a:r>
          </a:p>
          <a:p>
            <a:pPr marL="0" indent="0">
              <a:buNone/>
            </a:pP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	</a:t>
            </a:r>
            <a:r>
              <a:rPr lang="en-US" b="1" dirty="0" smtClean="0">
                <a:solidFill>
                  <a:schemeClr val="tx2">
                    <a:lumMod val="75000"/>
                  </a:schemeClr>
                </a:solidFill>
              </a:rPr>
              <a:t>2005: 4.71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</a:rPr>
              <a:t>	2007: 4.60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</a:rPr>
              <a:t>	2009: 4.86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chemeClr val="tx2">
                    <a:lumMod val="75000"/>
                  </a:schemeClr>
                </a:solidFill>
              </a:rPr>
              <a:t>          2011: 5.10</a:t>
            </a:r>
          </a:p>
          <a:p>
            <a:pPr marL="0" indent="0">
              <a:buNone/>
            </a:pPr>
            <a:endParaRPr lang="en-US" b="1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b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359106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Some Results</a:t>
            </a:r>
            <a:endParaRPr lang="en-US" sz="3600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90% of 1st year students adequately reading and writing (2013, after the strike- 86.6%);</a:t>
            </a:r>
            <a:endParaRPr lang="en-US" b="1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en-US" dirty="0" smtClean="0"/>
              <a:t>38,000 illiterate students re-alphabetized (from 2009 to 2013);</a:t>
            </a:r>
          </a:p>
          <a:p>
            <a:r>
              <a:rPr lang="en-US" dirty="0" smtClean="0"/>
              <a:t>49.200 students with discrepancies age/grade accelerated;</a:t>
            </a:r>
          </a:p>
          <a:p>
            <a:r>
              <a:rPr lang="en-US" dirty="0" smtClean="0"/>
              <a:t>43% of the schools received bonuses – many were Schools of Tomorrow (as for 2012);</a:t>
            </a:r>
          </a:p>
          <a:p>
            <a:r>
              <a:rPr lang="en-US" dirty="0" smtClean="0"/>
              <a:t>In Schools of Tomorrow, evasion rate dropped from 5,1% to 3.18% in 2012 and to 2.3% in 2013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146839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wb13414\Documents\Documents\PICTURES\Rio Education\03.07.13 - Escola do Amanhã - EM Prof. Vera Saback Sampaio foto Helio Melo (145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96938" y="-274638"/>
            <a:ext cx="10939463" cy="7407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937446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683568" y="260449"/>
            <a:ext cx="7921625" cy="576263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>
              <a:defRPr/>
            </a:pPr>
            <a:r>
              <a:rPr lang="en-US" sz="3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IDEB – Results 2009 - 2011</a:t>
            </a:r>
            <a:endParaRPr lang="en-US" sz="36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13036"/>
              </p:ext>
            </p:extLst>
          </p:nvPr>
        </p:nvGraphicFramePr>
        <p:xfrm>
          <a:off x="898599" y="2060575"/>
          <a:ext cx="7489825" cy="2016126"/>
        </p:xfrm>
        <a:graphic>
          <a:graphicData uri="http://schemas.openxmlformats.org/drawingml/2006/table">
            <a:tbl>
              <a:tblPr/>
              <a:tblGrid>
                <a:gridCol w="912812"/>
                <a:gridCol w="911225"/>
                <a:gridCol w="912813"/>
                <a:gridCol w="1007938"/>
                <a:gridCol w="1656184"/>
                <a:gridCol w="2088853"/>
              </a:tblGrid>
              <a:tr h="725488"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IDEB (Standardized grade X flow indicato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EARLY YEARS (1st to 5th GRADE) </a:t>
                      </a:r>
                      <a:endParaRPr kumimoji="0" lang="pt-BR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7254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5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7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9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Goal 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% 2009-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  <a:tr h="5651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2</a:t>
                      </a:r>
                      <a:endParaRPr kumimoji="0" lang="pt-BR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5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5.1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5.4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5.1*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+6%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989307"/>
              </p:ext>
            </p:extLst>
          </p:nvPr>
        </p:nvGraphicFramePr>
        <p:xfrm>
          <a:off x="898599" y="4292600"/>
          <a:ext cx="7489825" cy="2087563"/>
        </p:xfrm>
        <a:graphic>
          <a:graphicData uri="http://schemas.openxmlformats.org/drawingml/2006/table">
            <a:tbl>
              <a:tblPr/>
              <a:tblGrid>
                <a:gridCol w="949325"/>
                <a:gridCol w="947738"/>
                <a:gridCol w="949325"/>
                <a:gridCol w="947737"/>
                <a:gridCol w="1641475"/>
                <a:gridCol w="2054225"/>
              </a:tblGrid>
              <a:tr h="762000"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IDEB (Standardized grade X flow indicato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FINAL YEARS (6th to 9th GRADE) 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5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7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9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Goal 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% 2009-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  <a:tr h="563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3.7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3</a:t>
                      </a:r>
                      <a:endParaRPr kumimoji="0" lang="pt-BR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3.6</a:t>
                      </a:r>
                      <a:endParaRPr kumimoji="0" lang="pt-BR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4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3*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+22%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1227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3907830"/>
              </p:ext>
            </p:extLst>
          </p:nvPr>
        </p:nvGraphicFramePr>
        <p:xfrm>
          <a:off x="900113" y="1844922"/>
          <a:ext cx="7272337" cy="2016126"/>
        </p:xfrm>
        <a:graphic>
          <a:graphicData uri="http://schemas.openxmlformats.org/drawingml/2006/table">
            <a:tbl>
              <a:tblPr/>
              <a:tblGrid>
                <a:gridCol w="1223962"/>
                <a:gridCol w="1152525"/>
                <a:gridCol w="1223963"/>
                <a:gridCol w="1511300"/>
                <a:gridCol w="2160587"/>
              </a:tblGrid>
              <a:tr h="72548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Prova Brasil </a:t>
                      </a: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(Standardized grade X flow indicato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EARLY YEARS (1st to 5th GRADE) 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7254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5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7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9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% 2009-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  <a:tr h="5651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4.91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4.86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5.68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5.99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+6%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3273469"/>
              </p:ext>
            </p:extLst>
          </p:nvPr>
        </p:nvGraphicFramePr>
        <p:xfrm>
          <a:off x="889000" y="4293765"/>
          <a:ext cx="7283450" cy="2087563"/>
        </p:xfrm>
        <a:graphic>
          <a:graphicData uri="http://schemas.openxmlformats.org/drawingml/2006/table">
            <a:tbl>
              <a:tblPr/>
              <a:tblGrid>
                <a:gridCol w="1181100"/>
                <a:gridCol w="1181100"/>
                <a:gridCol w="1249363"/>
                <a:gridCol w="1511300"/>
                <a:gridCol w="2160587"/>
              </a:tblGrid>
              <a:tr h="762000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1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Prova Brasil </a:t>
                      </a: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(Standardized grade X flow indicato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FINAL YEARS (6th to 9th GRADE) 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5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7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9</a:t>
                      </a:r>
                      <a:endParaRPr kumimoji="0" lang="pt-BR" sz="2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% 2009-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  <a:tr h="563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4.71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62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86</a:t>
                      </a:r>
                      <a:endParaRPr kumimoji="0" lang="pt-BR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5.10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+5%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sp>
        <p:nvSpPr>
          <p:cNvPr id="6" name="Subtítulo 2"/>
          <p:cNvSpPr>
            <a:spLocks noGrp="1"/>
          </p:cNvSpPr>
          <p:nvPr>
            <p:ph type="subTitle" idx="1"/>
          </p:nvPr>
        </p:nvSpPr>
        <p:spPr>
          <a:xfrm>
            <a:off x="-324544" y="188640"/>
            <a:ext cx="7921625" cy="576263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>
              <a:defRPr/>
            </a:pPr>
            <a:r>
              <a:rPr lang="en-US" sz="3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Results 2009 - 2011</a:t>
            </a:r>
            <a:endParaRPr lang="en-US" sz="36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99205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2095559"/>
              </p:ext>
            </p:extLst>
          </p:nvPr>
        </p:nvGraphicFramePr>
        <p:xfrm>
          <a:off x="468313" y="1628800"/>
          <a:ext cx="8402700" cy="4876800"/>
        </p:xfrm>
        <a:graphic>
          <a:graphicData uri="http://schemas.openxmlformats.org/drawingml/2006/table">
            <a:tbl>
              <a:tblPr/>
              <a:tblGrid>
                <a:gridCol w="2694051"/>
                <a:gridCol w="1657350"/>
                <a:gridCol w="1150937"/>
                <a:gridCol w="1009650"/>
                <a:gridCol w="944562"/>
                <a:gridCol w="946150"/>
              </a:tblGrid>
              <a:tr h="9144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Position Early Years IDEB 2011</a:t>
                      </a:r>
                    </a:p>
                  </a:txBody>
                  <a:tcPr marT="127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APITAL Cities</a:t>
                      </a:r>
                    </a:p>
                  </a:txBody>
                  <a:tcPr marT="127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Students</a:t>
                      </a:r>
                    </a:p>
                  </a:txBody>
                  <a:tcPr marT="127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IDEB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2011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endParaRPr kumimoji="0" lang="fr-F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127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IDEB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2009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endParaRPr kumimoji="0" lang="fr-F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127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%  2009-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2011</a:t>
                      </a:r>
                    </a:p>
                  </a:txBody>
                  <a:tcPr marT="1270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1º</a:t>
                      </a:r>
                      <a:endParaRPr kumimoji="0" lang="en-US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Florianopolis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8,533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6.0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2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15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2º</a:t>
                      </a:r>
                      <a:endParaRPr kumimoji="0" lang="en-US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ampo Grande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43,409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8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2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12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uritiba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87,133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8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7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2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Palmas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12,262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8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6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4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3º</a:t>
                      </a:r>
                      <a:endParaRPr kumimoji="0" lang="en-US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Belo Horizonte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64,722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6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3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6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4º</a:t>
                      </a:r>
                      <a:endParaRPr kumimoji="0" lang="en-US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Rio de Janeiro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99,584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4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1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6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5º</a:t>
                      </a:r>
                      <a:endParaRPr kumimoji="0" lang="en-US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Goiania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42,772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3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1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4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6º</a:t>
                      </a:r>
                      <a:endParaRPr kumimoji="0" lang="en-US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Teresina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35,475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2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2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0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7º</a:t>
                      </a:r>
                      <a:endParaRPr kumimoji="0" lang="en-US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Boa Vista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16,158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0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7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6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Vitoria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15,647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0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8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4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8º</a:t>
                      </a:r>
                      <a:endParaRPr kumimoji="0" lang="en-US" sz="3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uiaba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1,021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8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5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7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Rio Branco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8,053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8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0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-4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27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Sao Paulo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10,391 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8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7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2%</a:t>
                      </a: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</a:tr>
            </a:tbl>
          </a:graphicData>
        </a:graphic>
      </p:graphicFrame>
      <p:sp>
        <p:nvSpPr>
          <p:cNvPr id="3" name="CaixaDeTexto 2"/>
          <p:cNvSpPr txBox="1"/>
          <p:nvPr/>
        </p:nvSpPr>
        <p:spPr>
          <a:xfrm>
            <a:off x="971600" y="262389"/>
            <a:ext cx="7488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dirty="0" smtClean="0">
                <a:solidFill>
                  <a:prstClr val="white"/>
                </a:solidFill>
                <a:effectLst>
                  <a:outerShdw blurRad="50800" dist="50800" dir="2700000" algn="tl" rotWithShape="0">
                    <a:srgbClr val="000000">
                      <a:alpha val="43137"/>
                    </a:srgbClr>
                  </a:outerShdw>
                </a:effectLst>
                <a:latin typeface="Bookman Old Style"/>
              </a:rPr>
              <a:t>IDEB 2011 – Early Year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122754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784252"/>
              </p:ext>
            </p:extLst>
          </p:nvPr>
        </p:nvGraphicFramePr>
        <p:xfrm>
          <a:off x="611560" y="1628616"/>
          <a:ext cx="8352928" cy="5075886"/>
        </p:xfrm>
        <a:graphic>
          <a:graphicData uri="http://schemas.openxmlformats.org/drawingml/2006/table">
            <a:tbl>
              <a:tblPr/>
              <a:tblGrid>
                <a:gridCol w="2448272"/>
                <a:gridCol w="1633000"/>
                <a:gridCol w="1103304"/>
                <a:gridCol w="841384"/>
                <a:gridCol w="954087"/>
                <a:gridCol w="1372881"/>
              </a:tblGrid>
              <a:tr h="99961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Position Final Years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IDEB 2011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APITAL Cities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Students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IDEB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2011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endParaRPr kumimoji="0" lang="fr-F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IDEB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2009</a:t>
                      </a:r>
                      <a:br>
                        <a:rPr kumimoji="0" lang="fr-F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</a:br>
                      <a:endParaRPr kumimoji="0" lang="fr-F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%  2009 -  2011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06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1º</a:t>
                      </a: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ampo Grande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9,714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0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8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4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Palmas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8,807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0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5.0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0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2º</a:t>
                      </a: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uritiba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7,351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7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4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7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3º</a:t>
                      </a: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Florianopolis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6,792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6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5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2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06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4º</a:t>
                      </a: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Belo Horizonte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59,199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5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3.8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18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5º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Rio de Janeiro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30,375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4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3.6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22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</a:tr>
              <a:tr h="3102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Teresina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4,824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4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7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-6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6º</a:t>
                      </a:r>
                      <a:endParaRPr kumimoji="0" lang="en-US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Sao Paulo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42,275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3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2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2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90000"/>
                      </a:schemeClr>
                    </a:solidFill>
                  </a:tcPr>
                </a:tc>
              </a:tr>
              <a:tr h="31028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7º</a:t>
                      </a: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Cuiaba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7,624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2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1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2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Vitoria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13,062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2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3.8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11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8º</a:t>
                      </a:r>
                      <a:endParaRPr kumimoji="0" lang="en-US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mbria" pitchFamily="18" charset="0"/>
                        <a:ea typeface="MS Mincho" pitchFamily="49" charset="-128"/>
                      </a:endParaRPr>
                    </a:p>
                  </a:txBody>
                  <a:tcPr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Joao Pessoa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16,982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3.9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3.4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15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0283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Sao Luis</a:t>
                      </a:r>
                    </a:p>
                  </a:txBody>
                  <a:tcPr marT="12702" marB="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 27,653 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3.9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pitchFamily="34" charset="0"/>
                          <a:ea typeface="MS PGothic" pitchFamily="34" charset="-128"/>
                        </a:rPr>
                        <a:t>4.1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itchFamily="34" charset="0"/>
                          <a:ea typeface="MS PGothic" pitchFamily="34" charset="-128"/>
                        </a:rPr>
                        <a:t>-5%</a:t>
                      </a:r>
                    </a:p>
                  </a:txBody>
                  <a:tcPr marT="12702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ítulo 9"/>
          <p:cNvSpPr txBox="1">
            <a:spLocks noGrp="1"/>
          </p:cNvSpPr>
          <p:nvPr>
            <p:ph type="ctrTitle"/>
          </p:nvPr>
        </p:nvSpPr>
        <p:spPr>
          <a:xfrm>
            <a:off x="1008112" y="262389"/>
            <a:ext cx="8244408" cy="646331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DEB 2011 </a:t>
            </a:r>
            <a:r>
              <a:rPr lang="pt-BR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Final Years</a:t>
            </a:r>
            <a:endParaRPr lang="pt-BR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50631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Espaço Reservado para Conteúdo 2"/>
          <p:cNvSpPr txBox="1">
            <a:spLocks/>
          </p:cNvSpPr>
          <p:nvPr/>
        </p:nvSpPr>
        <p:spPr bwMode="auto">
          <a:xfrm>
            <a:off x="900113" y="2060575"/>
            <a:ext cx="7129462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en-US" alt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cs typeface="Arial" charset="0"/>
              </a:rPr>
              <a:t>Literacy Rates</a:t>
            </a:r>
          </a:p>
          <a:p>
            <a:pPr algn="ctr" eaLnBrk="1" hangingPunct="1">
              <a:buFont typeface="Arial" charset="0"/>
              <a:buNone/>
            </a:pPr>
            <a:r>
              <a:rPr lang="en-US" alt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  <a:cs typeface="Arial" charset="0"/>
              </a:rPr>
              <a:t>Portuguese Language</a:t>
            </a:r>
            <a:endParaRPr lang="en-US" altLang="pt-BR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  <a:cs typeface="Arial" charset="0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229817"/>
              </p:ext>
            </p:extLst>
          </p:nvPr>
        </p:nvGraphicFramePr>
        <p:xfrm>
          <a:off x="1042366" y="3284538"/>
          <a:ext cx="7058026" cy="30241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9013"/>
                <a:gridCol w="3529013"/>
              </a:tblGrid>
              <a:tr h="756047">
                <a:tc gridSpan="2">
                  <a:txBody>
                    <a:bodyPr/>
                    <a:lstStyle/>
                    <a:p>
                      <a:pPr algn="ctr"/>
                      <a:r>
                        <a:rPr lang="pt-BR" sz="24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Reading</a:t>
                      </a:r>
                      <a:endParaRPr lang="pt-BR" sz="24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91457" marR="91457" marT="45698" marB="45698" anchor="ctr"/>
                </a:tc>
                <a:tc hMerge="1">
                  <a:txBody>
                    <a:bodyPr/>
                    <a:lstStyle/>
                    <a:p>
                      <a:endParaRPr lang="pt-BR" sz="1800" dirty="0"/>
                    </a:p>
                  </a:txBody>
                  <a:tcPr marT="45700" marB="45700"/>
                </a:tc>
              </a:tr>
              <a:tr h="75604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2012</a:t>
                      </a:r>
                    </a:p>
                  </a:txBody>
                  <a:tcPr marL="9529" marR="9529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90%</a:t>
                      </a:r>
                      <a:endParaRPr lang="pt-BR" sz="2000" b="0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75604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2011</a:t>
                      </a:r>
                    </a:p>
                  </a:txBody>
                  <a:tcPr marL="9529" marR="9529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81,7%</a:t>
                      </a:r>
                      <a:endParaRPr lang="pt-BR" sz="2000" b="0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756047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2010</a:t>
                      </a:r>
                    </a:p>
                  </a:txBody>
                  <a:tcPr marL="9529" marR="9529" marT="95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79,6%</a:t>
                      </a:r>
                      <a:endParaRPr lang="pt-BR" sz="2000" b="0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8212" name="CaixaDeTexto 2"/>
          <p:cNvSpPr txBox="1">
            <a:spLocks noChangeArrowheads="1"/>
          </p:cNvSpPr>
          <p:nvPr/>
        </p:nvSpPr>
        <p:spPr bwMode="auto">
          <a:xfrm>
            <a:off x="1187624" y="140439"/>
            <a:ext cx="6840537" cy="1200329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sz="36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Alfabetiza Rio </a:t>
            </a:r>
            <a:r>
              <a:rPr lang="en-US" altLang="pt-BR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2012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pt-BR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Results</a:t>
            </a:r>
            <a:endParaRPr lang="en-US" altLang="pt-BR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89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Espaço Reservado para Conteúdo 2"/>
          <p:cNvSpPr txBox="1">
            <a:spLocks/>
          </p:cNvSpPr>
          <p:nvPr/>
        </p:nvSpPr>
        <p:spPr bwMode="auto">
          <a:xfrm>
            <a:off x="900113" y="2060575"/>
            <a:ext cx="7129462" cy="93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pt-BR" altLang="pt-BR" sz="2400" b="1" dirty="0" smtClean="0">
                <a:latin typeface="Bookman Old Style" pitchFamily="18" charset="0"/>
                <a:cs typeface="Arial" charset="0"/>
              </a:rPr>
              <a:t>Numeracy Rates</a:t>
            </a:r>
            <a:endParaRPr lang="pt-BR" altLang="pt-BR" sz="2400" b="1" dirty="0">
              <a:latin typeface="Bookman Old Style" pitchFamily="18" charset="0"/>
              <a:cs typeface="Arial" charset="0"/>
            </a:endParaRPr>
          </a:p>
          <a:p>
            <a:pPr algn="ctr" eaLnBrk="1" hangingPunct="1">
              <a:buFont typeface="Arial" charset="0"/>
              <a:buNone/>
            </a:pPr>
            <a:r>
              <a:rPr lang="pt-BR" altLang="pt-BR" sz="2400" b="1" dirty="0" err="1" smtClean="0">
                <a:latin typeface="Bookman Old Style" pitchFamily="18" charset="0"/>
                <a:cs typeface="Arial" charset="0"/>
              </a:rPr>
              <a:t>Math</a:t>
            </a:r>
            <a:endParaRPr lang="pt-BR" altLang="pt-BR" sz="2400" b="1" dirty="0">
              <a:latin typeface="Bookman Old Style" pitchFamily="18" charset="0"/>
              <a:cs typeface="Arial" charset="0"/>
            </a:endParaRPr>
          </a:p>
        </p:txBody>
      </p:sp>
      <p:sp>
        <p:nvSpPr>
          <p:cNvPr id="8212" name="CaixaDeTexto 2"/>
          <p:cNvSpPr txBox="1">
            <a:spLocks noChangeArrowheads="1"/>
          </p:cNvSpPr>
          <p:nvPr/>
        </p:nvSpPr>
        <p:spPr bwMode="auto">
          <a:xfrm>
            <a:off x="1187624" y="140439"/>
            <a:ext cx="6840537" cy="1200329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sz="3600" dirty="0" smtClean="0">
                <a:latin typeface="Bookman Old Style" pitchFamily="18" charset="0"/>
              </a:rPr>
              <a:t>Alfabetiza Rio 2012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sz="3600" dirty="0" err="1" smtClean="0">
                <a:latin typeface="Bookman Old Style" pitchFamily="18" charset="0"/>
              </a:rPr>
              <a:t>Results</a:t>
            </a:r>
            <a:endParaRPr lang="pt-BR" altLang="pt-BR" sz="3600" dirty="0">
              <a:latin typeface="Calibri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750914"/>
              </p:ext>
            </p:extLst>
          </p:nvPr>
        </p:nvGraphicFramePr>
        <p:xfrm>
          <a:off x="1116013" y="3222204"/>
          <a:ext cx="6696076" cy="31591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48038"/>
                <a:gridCol w="3348038"/>
              </a:tblGrid>
              <a:tr h="457150">
                <a:tc gridSpan="2">
                  <a:txBody>
                    <a:bodyPr/>
                    <a:lstStyle/>
                    <a:p>
                      <a:pPr algn="ctr"/>
                      <a:r>
                        <a:rPr lang="pt-BR" sz="2400" dirty="0" err="1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Math</a:t>
                      </a:r>
                      <a:endParaRPr lang="pt-BR" sz="24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91432" marR="91432" marT="45695" marB="45695" anchor="ctr"/>
                </a:tc>
                <a:tc hMerge="1">
                  <a:txBody>
                    <a:bodyPr/>
                    <a:lstStyle/>
                    <a:p>
                      <a:endParaRPr lang="pt-BR" sz="1800" dirty="0"/>
                    </a:p>
                  </a:txBody>
                  <a:tcPr marT="45700" marB="45700"/>
                </a:tc>
              </a:tr>
              <a:tr h="90065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2012</a:t>
                      </a:r>
                    </a:p>
                  </a:txBody>
                  <a:tcPr marL="9526" marR="9526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90,5%</a:t>
                      </a:r>
                      <a:endParaRPr lang="pt-BR" sz="2000" b="0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90065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2011</a:t>
                      </a:r>
                    </a:p>
                  </a:txBody>
                  <a:tcPr marL="9526" marR="9526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83,8%</a:t>
                      </a:r>
                      <a:endParaRPr lang="pt-BR" sz="2000" b="0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900658"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2010</a:t>
                      </a:r>
                    </a:p>
                  </a:txBody>
                  <a:tcPr marL="9526" marR="9526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0" i="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80,7%</a:t>
                      </a:r>
                      <a:endParaRPr lang="pt-BR" sz="2000" b="0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2704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1556792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pt-BR" sz="4000" b="1" dirty="0" smtClean="0">
                <a:latin typeface="+mj-lt"/>
                <a:cs typeface="Calibri" pitchFamily="34" charset="0"/>
              </a:rPr>
              <a:t>KEY INITIATIVES:</a:t>
            </a:r>
            <a:br>
              <a:rPr lang="pt-BR" sz="4000" b="1" dirty="0" smtClean="0">
                <a:latin typeface="+mj-lt"/>
                <a:cs typeface="Calibri" pitchFamily="34" charset="0"/>
              </a:rPr>
            </a:br>
            <a:r>
              <a:rPr lang="pt-BR" sz="4000" b="1" i="1" dirty="0" smtClean="0">
                <a:latin typeface="+mj-lt"/>
                <a:cs typeface="Calibri" pitchFamily="34" charset="0"/>
              </a:rPr>
              <a:t>Educopédia</a:t>
            </a:r>
            <a:endParaRPr lang="pt-BR" sz="4000" b="1" i="1" dirty="0">
              <a:latin typeface="+mj-lt"/>
              <a:cs typeface="Calibri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9382309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5787126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Picture 2" descr="d:\Users\Cristiano\Desktop\Educopédi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60"/>
            <a:ext cx="9144001" cy="2721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tângulo 23"/>
          <p:cNvSpPr/>
          <p:nvPr/>
        </p:nvSpPr>
        <p:spPr>
          <a:xfrm>
            <a:off x="-36512" y="2721694"/>
            <a:ext cx="88204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 </a:t>
            </a:r>
            <a:r>
              <a:rPr lang="en-US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line platform for collaborative digital lessons, where students and teachers can access self-explanatory activities through play and practice anywhere, anytime. </a:t>
            </a:r>
            <a:endParaRPr lang="pt-BR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6" name="Tabela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0790366"/>
              </p:ext>
            </p:extLst>
          </p:nvPr>
        </p:nvGraphicFramePr>
        <p:xfrm>
          <a:off x="107504" y="4149080"/>
          <a:ext cx="3456384" cy="19888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1293"/>
                <a:gridCol w="1155740"/>
                <a:gridCol w="1159351"/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noProof="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Google Analytics</a:t>
                      </a:r>
                      <a:endParaRPr lang="en-US" sz="1600" b="0" i="0" u="none" strike="noStrike" noProof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noProof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Visitors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noProof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Views</a:t>
                      </a:r>
                      <a:endParaRPr lang="en-US" sz="1600" b="1" i="0" u="none" strike="noStrike" noProof="0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013</a:t>
                      </a:r>
                      <a:endParaRPr lang="pt-BR" sz="1600" b="1" i="0" u="none" strike="noStrike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                597.340 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          10.070.752 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012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                567.894 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          10.465.858 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011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   </a:t>
                      </a:r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64.289 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              1.060.029 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27" name="Tabela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0723296"/>
              </p:ext>
            </p:extLst>
          </p:nvPr>
        </p:nvGraphicFramePr>
        <p:xfrm>
          <a:off x="3851920" y="4149080"/>
          <a:ext cx="5184576" cy="11795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83112"/>
                <a:gridCol w="1347269"/>
                <a:gridCol w="1287122"/>
                <a:gridCol w="1267073"/>
              </a:tblGrid>
              <a:tr h="294893">
                <a:tc>
                  <a:txBody>
                    <a:bodyPr/>
                    <a:lstStyle/>
                    <a:p>
                      <a:pPr algn="ctr" fontAlgn="b"/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012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2013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%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9489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Desktop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560.970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577.037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%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9489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Mobile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.655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0.633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91%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  <a:tr h="29489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Tablet</a:t>
                      </a:r>
                      <a:endParaRPr lang="pt-BR" sz="16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3.269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9.669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196%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67841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68760"/>
            <a:ext cx="9144000" cy="5589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07504" y="116632"/>
            <a:ext cx="90364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Teachers working collaboratively on </a:t>
            </a:r>
            <a:r>
              <a:rPr lang="pt-BR" sz="3200" i="1" dirty="0" err="1" smtClean="0"/>
              <a:t>Educopédia</a:t>
            </a:r>
            <a:r>
              <a:rPr lang="pt-BR" sz="3200" i="1" dirty="0" smtClean="0"/>
              <a:t> </a:t>
            </a:r>
            <a:r>
              <a:rPr lang="en-US" sz="3200" dirty="0" smtClean="0"/>
              <a:t>content</a:t>
            </a:r>
            <a:endParaRPr lang="en-US" sz="3200" i="1" dirty="0"/>
          </a:p>
        </p:txBody>
      </p:sp>
    </p:spTree>
    <p:extLst>
      <p:ext uri="{BB962C8B-B14F-4D97-AF65-F5344CB8AC3E}">
        <p14:creationId xmlns:p14="http://schemas.microsoft.com/office/powerpoint/2010/main" val="223545794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2252464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pt-BR" sz="3600" b="1" dirty="0" smtClean="0">
                <a:latin typeface="+mj-lt"/>
                <a:cs typeface="Calibri" pitchFamily="34" charset="0"/>
              </a:rPr>
              <a:t>KEY INITIATIVES:</a:t>
            </a:r>
          </a:p>
          <a:p>
            <a:r>
              <a:rPr lang="pt-BR" sz="3600" b="1" dirty="0" smtClean="0">
                <a:latin typeface="+mj-lt"/>
                <a:cs typeface="Calibri" pitchFamily="34" charset="0"/>
              </a:rPr>
              <a:t>Experimental Middle Schools</a:t>
            </a:r>
            <a:endParaRPr lang="pt-BR" sz="3600" b="1" dirty="0">
              <a:latin typeface="+mj-lt"/>
              <a:cs typeface="Calibri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660658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7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41719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onteúdo 1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Schools for adolescents (7th to 9th grades)</a:t>
            </a:r>
          </a:p>
          <a:p>
            <a:r>
              <a:rPr lang="en-US" dirty="0" smtClean="0"/>
              <a:t>Young protagonism - Science, Drama and Movie Clubs, electives and Future Life Projects.</a:t>
            </a:r>
          </a:p>
          <a:p>
            <a:r>
              <a:rPr lang="en-US" dirty="0" smtClean="0"/>
              <a:t>Full-time day schools, with high expectations and rigor</a:t>
            </a:r>
          </a:p>
          <a:p>
            <a:r>
              <a:rPr lang="en-US" dirty="0" smtClean="0"/>
              <a:t>7th and 8th grade teachers covering more than one subject area- Hard Sciences and Humanities (with mentoring)</a:t>
            </a:r>
          </a:p>
          <a:p>
            <a:r>
              <a:rPr lang="en-US" dirty="0" smtClean="0"/>
              <a:t>Exceptional results.</a:t>
            </a:r>
          </a:p>
          <a:p>
            <a:r>
              <a:rPr lang="en-US" dirty="0" smtClean="0"/>
              <a:t>Special experimental middle schools for Arts, Sports, Samba and New Technologies (GENTE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erimental Middle Schoo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40441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87370"/>
            <a:ext cx="9144000" cy="5670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95536" y="332656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Team teacher in </a:t>
            </a:r>
            <a:r>
              <a:rPr lang="pt-BR" sz="3200" i="1" dirty="0" smtClean="0"/>
              <a:t>Ginásio Experimental</a:t>
            </a:r>
            <a:endParaRPr lang="pt-BR" sz="3200" i="1" dirty="0"/>
          </a:p>
        </p:txBody>
      </p:sp>
    </p:spTree>
    <p:extLst>
      <p:ext uri="{BB962C8B-B14F-4D97-AF65-F5344CB8AC3E}">
        <p14:creationId xmlns:p14="http://schemas.microsoft.com/office/powerpoint/2010/main" val="65109836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5787126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tângulo 2"/>
          <p:cNvSpPr/>
          <p:nvPr/>
        </p:nvSpPr>
        <p:spPr>
          <a:xfrm>
            <a:off x="107504" y="1484784"/>
            <a:ext cx="885698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altLang="pt-B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TE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- new school concept that makes the learning process personal, adjusting it to each student’s needs. </a:t>
            </a:r>
          </a:p>
          <a:p>
            <a:pPr algn="just">
              <a:buFont typeface="Arial" charset="0"/>
              <a:buNone/>
            </a:pPr>
            <a:endParaRPr lang="en-US" altLang="pt-BR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have changed everything: content, method and management.</a:t>
            </a:r>
          </a:p>
          <a:p>
            <a:pPr algn="just">
              <a:buFont typeface="Arial" charset="0"/>
              <a:buNone/>
            </a:pPr>
            <a:endParaRPr lang="en-US" altLang="pt-BR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classes, grades or classrooms.  To develop skills and competencies, teachers and students use digital classes from </a:t>
            </a:r>
            <a:r>
              <a:rPr lang="en-US" altLang="pt-BR" sz="2000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ducopédia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tablets and smartphones as part of the school material</a:t>
            </a:r>
          </a:p>
          <a:p>
            <a:pPr algn="just">
              <a:buFont typeface="Arial" charset="0"/>
              <a:buNone/>
            </a:pPr>
            <a:endParaRPr lang="en-US" altLang="pt-BR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/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role of teachers is reinvented. At </a:t>
            </a:r>
            <a:r>
              <a:rPr lang="en-US" altLang="pt-B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TE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teachers become mentors guiding students’ academic and social-emotional development </a:t>
            </a:r>
          </a:p>
          <a:p>
            <a:pPr algn="just"/>
            <a:endParaRPr lang="en-US" altLang="pt-BR" sz="20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lvl="1" algn="just"/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seminate practices developed in  GENTE to the Experimental Middle Schools and the least performing schools (e.g. formative assessment)</a:t>
            </a:r>
            <a:endParaRPr lang="en-US" altLang="pt-BR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323528" y="404664"/>
            <a:ext cx="1845377" cy="64633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en-US" altLang="pt-BR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GENTE</a:t>
            </a:r>
            <a:endParaRPr lang="pt-BR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292032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08720"/>
            <a:ext cx="9144000" cy="6202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7544" y="121161"/>
            <a:ext cx="7812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GENTE school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8408273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4" y="764704"/>
            <a:ext cx="9145016" cy="6094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03151" y="22523"/>
            <a:ext cx="849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smtClean="0"/>
              <a:t>GENTE school André </a:t>
            </a:r>
            <a:r>
              <a:rPr lang="en-US" sz="3600" dirty="0" err="1" smtClean="0"/>
              <a:t>Urani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6881830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6003150"/>
            <a:ext cx="1151980" cy="8102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Retângulo 1"/>
          <p:cNvSpPr/>
          <p:nvPr/>
        </p:nvSpPr>
        <p:spPr>
          <a:xfrm>
            <a:off x="107504" y="1410355"/>
            <a:ext cx="8856984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ct val="0"/>
              </a:spcBef>
              <a:buClr>
                <a:srgbClr val="2E75B6"/>
              </a:buClr>
              <a:buFontTx/>
              <a:buNone/>
              <a:defRPr/>
            </a:pPr>
            <a:endParaRPr lang="en-US" altLang="pt-BR" sz="500" dirty="0" smtClean="0"/>
          </a:p>
          <a:p>
            <a:pPr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2000" dirty="0" smtClean="0"/>
              <a:t> 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ents and teachers have noticed relevant development of the student’s  </a:t>
            </a:r>
            <a:r>
              <a:rPr lang="en-US" altLang="pt-B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cial and emotional skills 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especially in terms of autonomy, collaboration and solidarity.  </a:t>
            </a:r>
          </a:p>
          <a:p>
            <a:pPr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endParaRPr lang="en-US" altLang="pt-BR" sz="5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elevant </a:t>
            </a:r>
            <a:r>
              <a:rPr lang="en-US" altLang="pt-B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ademic results 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ve also been noticed: in general, GENTE’s general results grew more than those of the municipal schools, especially in </a:t>
            </a:r>
            <a:r>
              <a:rPr lang="en-US" altLang="pt-BR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hs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Science and Writing. </a:t>
            </a:r>
          </a:p>
          <a:p>
            <a:pPr indent="0" algn="just">
              <a:spcBef>
                <a:spcPct val="0"/>
              </a:spcBef>
              <a:buClr>
                <a:srgbClr val="2E75B6"/>
              </a:buClr>
              <a:buFont typeface="Arial" charset="0"/>
              <a:buNone/>
              <a:defRPr/>
            </a:pPr>
            <a:endParaRPr lang="en-US" altLang="pt-BR" sz="5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esults of the qualitative evaluation show that the students: </a:t>
            </a:r>
          </a:p>
          <a:p>
            <a:pPr lvl="1"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ink this school is far better than any school they have been before (due to technological aspects, infrastructure and the respect to everyone’s rhythm); </a:t>
            </a:r>
          </a:p>
          <a:p>
            <a:pPr lvl="1"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pt-BR" sz="16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ltigrade</a:t>
            </a:r>
            <a:r>
              <a:rPr lang="en-US" altLang="pt-B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lassrooms are positive (younger students like to learn from older peers, and the older students like to be regarded as references); </a:t>
            </a:r>
          </a:p>
          <a:p>
            <a:pPr indent="-285750" algn="just">
              <a:spcBef>
                <a:spcPct val="0"/>
              </a:spcBef>
              <a:buClr>
                <a:srgbClr val="2E75B6"/>
              </a:buClr>
              <a:buFont typeface="Arial" charset="0"/>
              <a:buNone/>
              <a:defRPr/>
            </a:pPr>
            <a:endParaRPr lang="en-US" altLang="pt-BR" sz="9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e main focus of the school in </a:t>
            </a:r>
            <a:r>
              <a:rPr lang="en-US" altLang="pt-B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4</a:t>
            </a:r>
            <a:r>
              <a:rPr lang="en-US" altLang="pt-BR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will be:</a:t>
            </a:r>
          </a:p>
          <a:p>
            <a:pPr lvl="1"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o solidify the pedagogical practices within the school</a:t>
            </a:r>
          </a:p>
          <a:p>
            <a:pPr lvl="1"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o built a </a:t>
            </a:r>
            <a:r>
              <a:rPr lang="en-US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ological solution which will integrate the tools of diagnostic assessments, the construction of personalized Formative Itineraries, adequate digital educational contents and formative/adaptive assessments </a:t>
            </a:r>
          </a:p>
          <a:p>
            <a:pPr lvl="1" algn="just">
              <a:spcBef>
                <a:spcPct val="0"/>
              </a:spcBef>
              <a:buClr>
                <a:srgbClr val="2E75B6"/>
              </a:buClr>
              <a:buFont typeface="Wingdings" pitchFamily="2" charset="2"/>
              <a:buChar char="§"/>
              <a:defRPr/>
            </a:pPr>
            <a:r>
              <a:rPr lang="en-US" altLang="pt-BR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o disseminate GENTE’s components to other schools</a:t>
            </a:r>
            <a:endParaRPr lang="en-US" altLang="pt-BR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467543" y="478413"/>
            <a:ext cx="8113797" cy="646331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lvl="0" algn="just">
              <a:spcBef>
                <a:spcPct val="0"/>
              </a:spcBef>
              <a:buClr>
                <a:srgbClr val="2E75B6"/>
              </a:buClr>
              <a:defRPr/>
            </a:pPr>
            <a:r>
              <a:rPr lang="en-US" altLang="pt-BR" sz="36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reliminary Results- 2013: </a:t>
            </a:r>
            <a:endParaRPr lang="en-US" altLang="pt-BR" sz="36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247534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1556792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pt-BR" sz="4000" b="1" dirty="0" smtClean="0">
                <a:latin typeface="+mj-lt"/>
                <a:cs typeface="Calibri" pitchFamily="34" charset="0"/>
              </a:rPr>
              <a:t>KEY INITIATIVES: </a:t>
            </a:r>
          </a:p>
          <a:p>
            <a:r>
              <a:rPr lang="pt-BR" sz="4000" b="1" dirty="0" smtClean="0">
                <a:latin typeface="+mj-lt"/>
                <a:cs typeface="Calibri" pitchFamily="34" charset="0"/>
              </a:rPr>
              <a:t>Schools of Tomorrow</a:t>
            </a:r>
            <a:endParaRPr lang="pt-BR" sz="4000" b="1" dirty="0">
              <a:latin typeface="+mj-lt"/>
              <a:cs typeface="Calibri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9"/>
          <p:cNvSpPr>
            <a:spLocks noGrp="1"/>
          </p:cNvSpPr>
          <p:nvPr>
            <p:ph type="title"/>
          </p:nvPr>
        </p:nvSpPr>
        <p:spPr>
          <a:xfrm>
            <a:off x="704850" y="3429000"/>
            <a:ext cx="7772400" cy="1362075"/>
          </a:xfrm>
        </p:spPr>
        <p:txBody>
          <a:bodyPr>
            <a:normAutofit/>
          </a:bodyPr>
          <a:lstStyle/>
          <a:p>
            <a:r>
              <a:rPr lang="pt-BR" sz="3200" i="1" dirty="0" smtClean="0"/>
              <a:t>Escolas do Amanhã</a:t>
            </a:r>
            <a:endParaRPr lang="pt-BR" sz="3200" i="1" dirty="0"/>
          </a:p>
        </p:txBody>
      </p:sp>
    </p:spTree>
    <p:extLst>
      <p:ext uri="{BB962C8B-B14F-4D97-AF65-F5344CB8AC3E}">
        <p14:creationId xmlns:p14="http://schemas.microsoft.com/office/powerpoint/2010/main" val="369049833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>
          <a:xfrm>
            <a:off x="179512" y="291554"/>
            <a:ext cx="8229600" cy="1265238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 fontScale="90000"/>
          </a:bodyPr>
          <a:lstStyle/>
          <a:p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ools Of Tomorrow                 The Program In Numbers</a:t>
            </a:r>
            <a:b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b="1" dirty="0" smtClean="0"/>
              <a:t/>
            </a:r>
            <a:br>
              <a:rPr lang="en-US" b="1" dirty="0" smtClean="0"/>
            </a:b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344" y="5787126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tângulo 2"/>
          <p:cNvSpPr/>
          <p:nvPr/>
        </p:nvSpPr>
        <p:spPr>
          <a:xfrm>
            <a:off x="107504" y="1484784"/>
            <a:ext cx="8856984" cy="4791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ing for Rio de Janeiro’s</a:t>
            </a:r>
          </a:p>
          <a:p>
            <a:r>
              <a:rPr lang="en-US" sz="2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st vulnerable</a:t>
            </a:r>
          </a:p>
          <a:p>
            <a:endParaRPr lang="en-U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5 -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hools of Tomorrow in Rio de Janeiro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% -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rease in dropout rates since 2009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5k -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ents benefitted by the Program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k -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chers working in the Schools of Tomorrow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3% -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owth on Brazil’s 2011Basic Education  	   	    Development Index</a:t>
            </a:r>
          </a:p>
          <a:p>
            <a:pPr marL="285750" indent="-285750">
              <a:lnSpc>
                <a:spcPts val="3500"/>
              </a:lnSpc>
              <a:buFont typeface="Arial" panose="020B0604020202020204" pitchFamily="34" charset="0"/>
              <a:buChar char="•"/>
            </a:pP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% - 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owth on Rio’s 2012 - Basic Education        		    Development Index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6523031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265238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pt-BR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w Does it Work?</a:t>
            </a:r>
            <a:endParaRPr lang="pt-BR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1556791"/>
            <a:ext cx="5987220" cy="522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589240"/>
            <a:ext cx="1944687" cy="154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520354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24744"/>
            <a:ext cx="9144000" cy="6454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51520" y="188640"/>
            <a:ext cx="8892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 err="1" smtClean="0"/>
              <a:t>Ensina</a:t>
            </a:r>
            <a:r>
              <a:rPr lang="en-US" sz="3600" dirty="0" smtClean="0"/>
              <a:t> teacher in </a:t>
            </a:r>
            <a:r>
              <a:rPr lang="en-US" sz="3600" dirty="0" err="1" smtClean="0"/>
              <a:t>Escola</a:t>
            </a:r>
            <a:r>
              <a:rPr lang="en-US" sz="3600" dirty="0" smtClean="0"/>
              <a:t> de </a:t>
            </a:r>
            <a:r>
              <a:rPr lang="en-US" sz="3600" dirty="0" err="1" smtClean="0"/>
              <a:t>Amanha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7149648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Building a team</a:t>
            </a:r>
            <a:endParaRPr lang="en-US" sz="3600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>
          <a:xfrm>
            <a:off x="457200" y="1855365"/>
            <a:ext cx="8229600" cy="4525963"/>
          </a:xfrm>
        </p:spPr>
        <p:txBody>
          <a:bodyPr/>
          <a:lstStyle/>
          <a:p>
            <a:r>
              <a:rPr lang="en-US" dirty="0" smtClean="0"/>
              <a:t>Suggestions from </a:t>
            </a:r>
            <a:r>
              <a:rPr lang="en-US" i="1" dirty="0" err="1" smtClean="0"/>
              <a:t>Todos</a:t>
            </a:r>
            <a:r>
              <a:rPr lang="en-US" i="1" dirty="0" smtClean="0"/>
              <a:t> </a:t>
            </a:r>
            <a:r>
              <a:rPr lang="en-US" i="1" dirty="0" err="1" smtClean="0"/>
              <a:t>pela</a:t>
            </a:r>
            <a:r>
              <a:rPr lang="en-US" i="1" dirty="0" smtClean="0"/>
              <a:t> </a:t>
            </a:r>
            <a:r>
              <a:rPr lang="en-US" i="1" dirty="0" err="1" smtClean="0"/>
              <a:t>Educação</a:t>
            </a:r>
            <a:r>
              <a:rPr lang="en-US" dirty="0" smtClean="0"/>
              <a:t> and reformers from successful school systems;</a:t>
            </a:r>
          </a:p>
          <a:p>
            <a:r>
              <a:rPr lang="en-US" dirty="0" smtClean="0"/>
              <a:t>Initial meeting to present the plan and hear reactions;</a:t>
            </a:r>
          </a:p>
          <a:p>
            <a:r>
              <a:rPr lang="en-US" dirty="0" smtClean="0"/>
              <a:t>Invitation to the undersecretary to stay as special advisor and confirmation of all the line members.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226213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9764054"/>
              </p:ext>
            </p:extLst>
          </p:nvPr>
        </p:nvGraphicFramePr>
        <p:xfrm>
          <a:off x="827088" y="2060575"/>
          <a:ext cx="7416800" cy="2016126"/>
        </p:xfrm>
        <a:graphic>
          <a:graphicData uri="http://schemas.openxmlformats.org/drawingml/2006/table">
            <a:tbl>
              <a:tblPr/>
              <a:tblGrid>
                <a:gridCol w="1223962"/>
                <a:gridCol w="1223963"/>
                <a:gridCol w="1295400"/>
                <a:gridCol w="1800225"/>
                <a:gridCol w="1873250"/>
              </a:tblGrid>
              <a:tr h="72548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IDEB (Nota Padronizada X Indicador de Fluxo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ANOS INICIAIS (1º ao 5º ANO)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7254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5</a:t>
                      </a:r>
                      <a:endParaRPr kumimoji="0" lang="pt-BR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7</a:t>
                      </a:r>
                      <a:endParaRPr kumimoji="0" lang="pt-BR" sz="2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9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1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Diferença 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9-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  <a:tr h="5651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3.8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1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6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5.0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+8%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0245744"/>
              </p:ext>
            </p:extLst>
          </p:nvPr>
        </p:nvGraphicFramePr>
        <p:xfrm>
          <a:off x="862013" y="4437063"/>
          <a:ext cx="7427913" cy="2087563"/>
        </p:xfrm>
        <a:graphic>
          <a:graphicData uri="http://schemas.openxmlformats.org/drawingml/2006/table">
            <a:tbl>
              <a:tblPr/>
              <a:tblGrid>
                <a:gridCol w="1204913"/>
                <a:gridCol w="1325562"/>
                <a:gridCol w="1296988"/>
                <a:gridCol w="1727200"/>
                <a:gridCol w="1873250"/>
              </a:tblGrid>
              <a:tr h="762000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IDEB (Nota Padronizada X Indicador de Fluxo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ANOS FINAIS (6º ao 9º ANO)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5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7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09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2011</a:t>
                      </a:r>
                      <a:endParaRPr kumimoji="0" lang="pt-BR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Diferença 2009-2011</a:t>
                      </a:r>
                      <a:endParaRPr kumimoji="0" lang="pt-BR" sz="2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  <a:tr h="5635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3.3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3.9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3.1</a:t>
                      </a:r>
                      <a:endParaRPr kumimoji="0" lang="pt-BR" sz="2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9CD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PGothic" pitchFamily="34" charset="-128"/>
                        </a:rPr>
                        <a:t>4.0</a:t>
                      </a:r>
                      <a:endParaRPr kumimoji="0" lang="pt-BR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Bookman Old Style" pitchFamily="18" charset="0"/>
                        <a:ea typeface="MS Mincho" pitchFamily="49" charset="-128"/>
                      </a:endParaRP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Bookman Old Style" pitchFamily="18" charset="0"/>
                          <a:ea typeface="MS Mincho" pitchFamily="49" charset="-128"/>
                        </a:rPr>
                        <a:t>+33%</a:t>
                      </a:r>
                    </a:p>
                  </a:txBody>
                  <a:tcPr marL="68589" marR="68589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sp>
        <p:nvSpPr>
          <p:cNvPr id="7215" name="CaixaDeTexto 2"/>
          <p:cNvSpPr txBox="1">
            <a:spLocks noChangeArrowheads="1"/>
          </p:cNvSpPr>
          <p:nvPr/>
        </p:nvSpPr>
        <p:spPr bwMode="auto">
          <a:xfrm>
            <a:off x="539552" y="262389"/>
            <a:ext cx="8640960" cy="646331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IDEB 2011 – </a:t>
            </a:r>
            <a:r>
              <a:rPr lang="pt-BR" altLang="pt-BR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Schools of Tomorrow</a:t>
            </a:r>
            <a:endParaRPr lang="pt-BR" altLang="pt-BR" sz="3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0426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ults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>
          <a:xfrm>
            <a:off x="374848" y="764704"/>
            <a:ext cx="8229600" cy="4525963"/>
          </a:xfrm>
        </p:spPr>
        <p:txBody>
          <a:bodyPr anchor="ctr">
            <a:normAutofit/>
          </a:bodyPr>
          <a:lstStyle/>
          <a:p>
            <a:r>
              <a:rPr lang="en-US" dirty="0" smtClean="0"/>
              <a:t>Percentage of schools that received bonuses was higher among the Schools of Tomorrow;</a:t>
            </a:r>
          </a:p>
          <a:p>
            <a:r>
              <a:rPr lang="en-US" dirty="0" smtClean="0"/>
              <a:t>Dropout rate fell from 5,1% to 2.3%;</a:t>
            </a:r>
          </a:p>
          <a:p>
            <a:r>
              <a:rPr lang="en-US" dirty="0" smtClean="0"/>
              <a:t>Test scores have increased in all years;</a:t>
            </a:r>
          </a:p>
          <a:p>
            <a:r>
              <a:rPr lang="en-US" dirty="0" smtClean="0"/>
              <a:t>Attendance rates have increased dramatically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543803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1556792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pt-BR" sz="4000" b="1" dirty="0" smtClean="0">
                <a:latin typeface="+mj-lt"/>
                <a:cs typeface="Calibri" pitchFamily="34" charset="0"/>
              </a:rPr>
              <a:t>How to Keep Improving</a:t>
            </a:r>
            <a:endParaRPr lang="pt-BR" sz="4000" b="1" dirty="0">
              <a:latin typeface="+mj-lt"/>
              <a:cs typeface="Calibri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9"/>
          <p:cNvSpPr>
            <a:spLocks noGrp="1"/>
          </p:cNvSpPr>
          <p:nvPr>
            <p:ph type="title"/>
          </p:nvPr>
        </p:nvSpPr>
        <p:spPr>
          <a:xfrm>
            <a:off x="704850" y="3429000"/>
            <a:ext cx="7772400" cy="1362075"/>
          </a:xfrm>
        </p:spPr>
        <p:txBody>
          <a:bodyPr>
            <a:normAutofit/>
          </a:bodyPr>
          <a:lstStyle/>
          <a:p>
            <a:r>
              <a:rPr lang="pt-BR" sz="3200" dirty="0" smtClean="0"/>
              <a:t>Biggest challenges and Next Steps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3699417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The goals behind our strategies </a:t>
            </a:r>
            <a:endParaRPr lang="pt-BR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Develop autonomous, caring, and competent young adults</a:t>
            </a:r>
          </a:p>
          <a:p>
            <a:r>
              <a:rPr lang="pt-BR" dirty="0" smtClean="0"/>
              <a:t>Redeem the admiration for public schools and teachers</a:t>
            </a:r>
          </a:p>
          <a:p>
            <a:r>
              <a:rPr lang="pt-BR" dirty="0" smtClean="0"/>
              <a:t>Involve the entire society in the positive transformation of public education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630793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 </a:t>
            </a:r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Biggest frustrations </a:t>
            </a:r>
            <a:endParaRPr lang="en-US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Lack of emphasis on and support for some preconditions of the reform</a:t>
            </a:r>
          </a:p>
          <a:p>
            <a:r>
              <a:rPr lang="en-US" dirty="0" smtClean="0"/>
              <a:t>Bureaucratic view on management</a:t>
            </a:r>
          </a:p>
          <a:p>
            <a:r>
              <a:rPr lang="en-US" dirty="0" smtClean="0"/>
              <a:t>Slow rhythm of the transformation (and lack of courage) at the federal level</a:t>
            </a:r>
          </a:p>
          <a:p>
            <a:r>
              <a:rPr lang="en-US" dirty="0" smtClean="0"/>
              <a:t>General attitudes towards the teachers (respect and admiration X pity)</a:t>
            </a:r>
          </a:p>
          <a:p>
            <a:endParaRPr lang="en-US" dirty="0" smtClean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441280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9592" y="0"/>
            <a:ext cx="8244408" cy="1340767"/>
          </a:xfr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Biggest challenges</a:t>
            </a:r>
            <a:endParaRPr lang="en-US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71600" y="1700808"/>
            <a:ext cx="6800800" cy="4392488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Changing the teach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Dealing with violence in and around the schoo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Improving math resul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Not enough hours in the school da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smtClean="0"/>
              <a:t>Institutionalizing and deepening the changes already in pla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8854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xt wave of actions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>
          <a:xfrm>
            <a:off x="323528" y="1600200"/>
            <a:ext cx="8712968" cy="5141168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b="1" dirty="0" smtClean="0"/>
              <a:t>What we teach</a:t>
            </a:r>
          </a:p>
          <a:p>
            <a:pPr lvl="1"/>
            <a:r>
              <a:rPr lang="en-US" dirty="0" smtClean="0"/>
              <a:t>Strategic persistence with curriculum guidelines, tests and learning reinforcement</a:t>
            </a:r>
          </a:p>
          <a:p>
            <a:pPr lvl="1"/>
            <a:r>
              <a:rPr lang="en-US" dirty="0" smtClean="0"/>
              <a:t>Emphasize literacy, math and science</a:t>
            </a:r>
          </a:p>
          <a:p>
            <a:pPr lvl="1"/>
            <a:r>
              <a:rPr lang="en-US" dirty="0" smtClean="0"/>
              <a:t>English language starting in 1st grade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>
                <a:solidFill>
                  <a:schemeClr val="tx1">
                    <a:lumMod val="95000"/>
                  </a:schemeClr>
                </a:solidFill>
              </a:rPr>
              <a:t>How we teach </a:t>
            </a:r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– focus on excellence and innovation in teacher practice </a:t>
            </a:r>
          </a:p>
          <a:p>
            <a:pPr lvl="1"/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Higher standards for new teachers</a:t>
            </a:r>
          </a:p>
          <a:p>
            <a:pPr lvl="1"/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Hiring and training mentors for new teachers (and unprepared ones)</a:t>
            </a:r>
          </a:p>
          <a:p>
            <a:pPr lvl="1"/>
            <a:r>
              <a:rPr lang="en-US" i="1" dirty="0" err="1" smtClean="0"/>
              <a:t>Ginásio</a:t>
            </a:r>
            <a:r>
              <a:rPr lang="en-US" i="1" dirty="0" smtClean="0"/>
              <a:t> Carioca </a:t>
            </a:r>
            <a:r>
              <a:rPr lang="en-US" dirty="0" smtClean="0"/>
              <a:t>Program: integrated approach to teaching in middle schools with 3 axes (excellence in teaching, character education, and structured teaching resources);</a:t>
            </a:r>
          </a:p>
          <a:p>
            <a:pPr lvl="1"/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Integrated Teaching; one shift schools (extended day); time for teacher study and collaboration</a:t>
            </a:r>
            <a:r>
              <a:rPr lang="en-US" dirty="0" smtClean="0">
                <a:solidFill>
                  <a:srgbClr val="FF0000"/>
                </a:solidFill>
              </a:rPr>
              <a:t>; </a:t>
            </a:r>
            <a:r>
              <a:rPr lang="en-US" dirty="0" err="1" smtClean="0"/>
              <a:t>Educopédia</a:t>
            </a:r>
            <a:r>
              <a:rPr lang="en-US" dirty="0" smtClean="0"/>
              <a:t>, textbooks, life plans, experimental middle schools (innovation hubs which disseminate new actions)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b="1" dirty="0" smtClean="0">
                <a:solidFill>
                  <a:schemeClr val="tx1">
                    <a:lumMod val="95000"/>
                  </a:schemeClr>
                </a:solidFill>
              </a:rPr>
              <a:t>How we manage </a:t>
            </a:r>
            <a:r>
              <a:rPr lang="en-US" dirty="0" smtClean="0">
                <a:solidFill>
                  <a:schemeClr val="tx1">
                    <a:lumMod val="95000"/>
                  </a:schemeClr>
                </a:solidFill>
              </a:rPr>
              <a:t>– focus on results, reward excellence, hold people accountable, address problems early, and never stop!!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87079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12582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908720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pt-BR" sz="4000" b="1" dirty="0" smtClean="0">
                <a:latin typeface="+mj-lt"/>
                <a:cs typeface="Calibri" pitchFamily="34" charset="0"/>
              </a:rPr>
              <a:t>THANK YOU!</a:t>
            </a:r>
            <a:endParaRPr lang="pt-BR" sz="4000" b="1" dirty="0">
              <a:latin typeface="+mj-lt"/>
              <a:cs typeface="Calibri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9"/>
          <p:cNvSpPr>
            <a:spLocks noGrp="1"/>
          </p:cNvSpPr>
          <p:nvPr>
            <p:ph type="title"/>
          </p:nvPr>
        </p:nvSpPr>
        <p:spPr>
          <a:xfrm>
            <a:off x="704850" y="3429000"/>
            <a:ext cx="7772400" cy="1362075"/>
          </a:xfrm>
        </p:spPr>
        <p:txBody>
          <a:bodyPr>
            <a:normAutofit/>
          </a:bodyPr>
          <a:lstStyle/>
          <a:p>
            <a:r>
              <a:rPr lang="pt-BR" sz="3200" dirty="0" smtClean="0"/>
              <a:t>claudiacostin@rioeduca.net</a:t>
            </a:r>
            <a:br>
              <a:rPr lang="pt-BR" sz="3200" dirty="0" smtClean="0"/>
            </a:br>
            <a:r>
              <a:rPr lang="pt-BR" sz="3200" dirty="0" smtClean="0"/>
              <a:t>@</a:t>
            </a:r>
            <a:r>
              <a:rPr lang="pt-BR" sz="3200" dirty="0" err="1" smtClean="0"/>
              <a:t>ClaudiaCostin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6589298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Lessons learned from managing other public policies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osing continuity and change;</a:t>
            </a:r>
          </a:p>
          <a:p>
            <a:r>
              <a:rPr lang="en-US" dirty="0" smtClean="0"/>
              <a:t>Identifying and communicating precisely the problems that need to be addressed;</a:t>
            </a:r>
          </a:p>
          <a:p>
            <a:r>
              <a:rPr lang="en-US" dirty="0" smtClean="0"/>
              <a:t>Building good teams;</a:t>
            </a:r>
          </a:p>
          <a:p>
            <a:r>
              <a:rPr lang="en-US" dirty="0" smtClean="0"/>
              <a:t>Using project managers for new initiatives and having them work with the permanent structure team (different skills);</a:t>
            </a:r>
          </a:p>
          <a:p>
            <a:r>
              <a:rPr lang="en-US" dirty="0" smtClean="0"/>
              <a:t>Building good partnerships with civil society and private sector.</a:t>
            </a:r>
            <a:endParaRPr lang="en-US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659057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Applying management lessons from other areas to education</a:t>
            </a:r>
            <a:endParaRPr lang="en-US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>
          <a:xfrm>
            <a:off x="457200" y="1711349"/>
            <a:ext cx="8229600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Building a good incentive system;</a:t>
            </a:r>
          </a:p>
          <a:p>
            <a:r>
              <a:rPr lang="en-US" dirty="0" smtClean="0"/>
              <a:t>Focusing on results (learning – not buildings or fancy projects);</a:t>
            </a:r>
          </a:p>
          <a:p>
            <a:r>
              <a:rPr lang="en-US" dirty="0" smtClean="0"/>
              <a:t>Studying recent literature on education and ensuring that team members are updated, despite avoiding academicism;</a:t>
            </a:r>
          </a:p>
          <a:p>
            <a:r>
              <a:rPr lang="en-US" dirty="0" smtClean="0"/>
              <a:t>Inform society systematically about phases and results, even the negative ones.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6459501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/>
          </p:cNvSpPr>
          <p:nvPr>
            <p:ph type="subTitle" idx="1"/>
          </p:nvPr>
        </p:nvSpPr>
        <p:spPr>
          <a:xfrm>
            <a:off x="899592" y="1700808"/>
            <a:ext cx="7272808" cy="1752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r>
              <a:rPr lang="en-US" sz="4000" b="1" dirty="0" smtClean="0">
                <a:latin typeface="+mj-lt"/>
                <a:cs typeface="Calibri" pitchFamily="34" charset="0"/>
              </a:rPr>
              <a:t>Education in Rio de Janeiro</a:t>
            </a:r>
            <a:endParaRPr lang="en-US" sz="4000" b="1" dirty="0">
              <a:latin typeface="+mj-lt"/>
              <a:cs typeface="Calibri" pitchFamily="34" charset="0"/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530120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Rectangle 9"/>
          <p:cNvSpPr>
            <a:spLocks noGrp="1"/>
          </p:cNvSpPr>
          <p:nvPr>
            <p:ph type="title"/>
          </p:nvPr>
        </p:nvSpPr>
        <p:spPr>
          <a:xfrm>
            <a:off x="704850" y="3573016"/>
            <a:ext cx="7772400" cy="1362075"/>
          </a:xfrm>
        </p:spPr>
        <p:txBody>
          <a:bodyPr>
            <a:normAutofit/>
          </a:bodyPr>
          <a:lstStyle/>
          <a:p>
            <a:r>
              <a:rPr lang="pt-BR" sz="3200" dirty="0"/>
              <a:t>T</a:t>
            </a:r>
            <a:r>
              <a:rPr lang="pt-BR" sz="3200" dirty="0" smtClean="0"/>
              <a:t>he context</a:t>
            </a:r>
            <a:endParaRPr lang="pt-BR" sz="3200" dirty="0"/>
          </a:p>
        </p:txBody>
      </p:sp>
    </p:spTree>
    <p:extLst>
      <p:ext uri="{BB962C8B-B14F-4D97-AF65-F5344CB8AC3E}">
        <p14:creationId xmlns:p14="http://schemas.microsoft.com/office/powerpoint/2010/main" val="16844348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Context in 2009</a:t>
            </a:r>
            <a:endParaRPr lang="en-US" sz="3600" dirty="0"/>
          </a:p>
        </p:txBody>
      </p:sp>
      <p:sp>
        <p:nvSpPr>
          <p:cNvPr id="3" name="Rectangle 2"/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 sz="7400" dirty="0" smtClean="0">
                <a:solidFill>
                  <a:schemeClr val="tx1">
                    <a:lumMod val="95000"/>
                  </a:schemeClr>
                </a:solidFill>
              </a:rPr>
              <a:t>1,063 schools, of which 250 </a:t>
            </a:r>
            <a:r>
              <a:rPr lang="en-US" sz="7400" dirty="0" err="1" smtClean="0">
                <a:solidFill>
                  <a:schemeClr val="tx1">
                    <a:lumMod val="95000"/>
                  </a:schemeClr>
                </a:solidFill>
              </a:rPr>
              <a:t>creches</a:t>
            </a:r>
            <a:r>
              <a:rPr lang="en-US" sz="7400" dirty="0" smtClean="0">
                <a:solidFill>
                  <a:schemeClr val="tx1">
                    <a:lumMod val="95000"/>
                  </a:schemeClr>
                </a:solidFill>
              </a:rPr>
              <a:t> (now 1,075 and 384 </a:t>
            </a:r>
            <a:r>
              <a:rPr lang="en-US" sz="7400" dirty="0" err="1" smtClean="0">
                <a:solidFill>
                  <a:schemeClr val="tx1">
                    <a:lumMod val="95000"/>
                  </a:schemeClr>
                </a:solidFill>
              </a:rPr>
              <a:t>creches</a:t>
            </a:r>
            <a:endParaRPr lang="en-US" sz="7400" dirty="0" smtClean="0">
              <a:solidFill>
                <a:schemeClr val="tx1">
                  <a:lumMod val="95000"/>
                </a:schemeClr>
              </a:solidFill>
            </a:endParaRPr>
          </a:p>
          <a:p>
            <a:r>
              <a:rPr lang="en-US" sz="7400" dirty="0" smtClean="0">
                <a:effectLst/>
              </a:rPr>
              <a:t>Students: 705.659 in March 2009 (now 668.919)</a:t>
            </a:r>
          </a:p>
          <a:p>
            <a:r>
              <a:rPr lang="en-US" sz="7400" dirty="0" smtClean="0">
                <a:effectLst/>
              </a:rPr>
              <a:t>Teachers: 36.060 in January 2009 (now 42.184)</a:t>
            </a:r>
          </a:p>
          <a:p>
            <a:r>
              <a:rPr lang="en-US" sz="7400" dirty="0" smtClean="0"/>
              <a:t>Teachers Union very radical, but not representative neither strong. Opposed to the reform since the beginning</a:t>
            </a:r>
          </a:p>
          <a:p>
            <a:r>
              <a:rPr lang="en-US" sz="7400" dirty="0" smtClean="0"/>
              <a:t>Good results in the national Educational index in comparison to Brazil’s average </a:t>
            </a:r>
          </a:p>
          <a:p>
            <a:r>
              <a:rPr lang="en-US" sz="7400" dirty="0" smtClean="0"/>
              <a:t>But declining performance: 5th grade students with adequate language skills on national test fell from </a:t>
            </a:r>
            <a:r>
              <a:rPr lang="en-US" sz="7400" b="1" dirty="0" smtClean="0">
                <a:solidFill>
                  <a:schemeClr val="tx2">
                    <a:lumMod val="75000"/>
                  </a:schemeClr>
                </a:solidFill>
              </a:rPr>
              <a:t>33.05% </a:t>
            </a:r>
            <a:r>
              <a:rPr lang="en-US" sz="7400" dirty="0" smtClean="0"/>
              <a:t>in </a:t>
            </a:r>
            <a:r>
              <a:rPr lang="en-US" sz="7400" b="1" dirty="0" smtClean="0">
                <a:solidFill>
                  <a:schemeClr val="tx2">
                    <a:lumMod val="75000"/>
                  </a:schemeClr>
                </a:solidFill>
              </a:rPr>
              <a:t>2005</a:t>
            </a:r>
            <a:r>
              <a:rPr lang="en-US" sz="7400" dirty="0" smtClean="0"/>
              <a:t> to </a:t>
            </a:r>
            <a:r>
              <a:rPr lang="en-US" sz="7400" b="1" dirty="0" smtClean="0">
                <a:solidFill>
                  <a:schemeClr val="tx2">
                    <a:lumMod val="75000"/>
                  </a:schemeClr>
                </a:solidFill>
              </a:rPr>
              <a:t>29.07%</a:t>
            </a:r>
            <a:r>
              <a:rPr lang="en-US" sz="7400" dirty="0" smtClean="0"/>
              <a:t> in </a:t>
            </a:r>
            <a:r>
              <a:rPr lang="en-US" sz="7400" b="1" dirty="0" smtClean="0">
                <a:solidFill>
                  <a:schemeClr val="tx2">
                    <a:lumMod val="75000"/>
                  </a:schemeClr>
                </a:solidFill>
              </a:rPr>
              <a:t>2007</a:t>
            </a:r>
            <a:endParaRPr lang="en-US" sz="7400" dirty="0" smtClean="0"/>
          </a:p>
          <a:p>
            <a:r>
              <a:rPr lang="en-US" sz="7400" dirty="0" smtClean="0"/>
              <a:t>Social promotion created a paternalistic culture: no tests, no homework, no assignments = drop in student learning 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5661248"/>
            <a:ext cx="1356742" cy="9542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078042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14516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lzKWN1oEKsFadYCIEYHw"/>
</p:tagLst>
</file>

<file path=ppt/theme/theme1.xml><?xml version="1.0" encoding="utf-8"?>
<a:theme xmlns:a="http://schemas.openxmlformats.org/drawingml/2006/main" name="EdBackToSchl">
  <a:themeElements>
    <a:clrScheme name="Solstice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21873A"/>
      </a:hlink>
      <a:folHlink>
        <a:srgbClr val="717E00"/>
      </a:folHlink>
    </a:clrScheme>
    <a:fontScheme name="School Presentation">
      <a:majorFont>
        <a:latin typeface="Bookman Old Style"/>
        <a:ea typeface=""/>
        <a:cs typeface=""/>
      </a:majorFont>
      <a:minorFont>
        <a:latin typeface="Segoe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BC63BC1A-5022-4FE9-A1C3-6CDEAF7806A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dBackToSchl</Template>
  <TotalTime>0</TotalTime>
  <Words>2024</Words>
  <Application>Microsoft Office PowerPoint</Application>
  <PresentationFormat>On-screen Show (4:3)</PresentationFormat>
  <Paragraphs>479</Paragraphs>
  <Slides>47</Slides>
  <Notes>31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7" baseType="lpstr">
      <vt:lpstr>Arial</vt:lpstr>
      <vt:lpstr>Bookman Old Style</vt:lpstr>
      <vt:lpstr>Times New Roman</vt:lpstr>
      <vt:lpstr>Calibri</vt:lpstr>
      <vt:lpstr>MS PGothic</vt:lpstr>
      <vt:lpstr>Segoe Condensed</vt:lpstr>
      <vt:lpstr>Wingdings</vt:lpstr>
      <vt:lpstr>Cambria</vt:lpstr>
      <vt:lpstr>MS Mincho</vt:lpstr>
      <vt:lpstr>EdBackToSchl</vt:lpstr>
      <vt:lpstr>Claudia Costin Secretary of Education</vt:lpstr>
      <vt:lpstr>PowerPoint Presentation</vt:lpstr>
      <vt:lpstr>PowerPoint Presentation</vt:lpstr>
      <vt:lpstr>Building a team</vt:lpstr>
      <vt:lpstr>Lessons learned from managing other public policies</vt:lpstr>
      <vt:lpstr>Applying management lessons from other areas to education</vt:lpstr>
      <vt:lpstr>The context</vt:lpstr>
      <vt:lpstr>Context in 2009</vt:lpstr>
      <vt:lpstr>PowerPoint Presentation</vt:lpstr>
      <vt:lpstr>Context in 2009</vt:lpstr>
      <vt:lpstr>PowerPoint Presentation</vt:lpstr>
      <vt:lpstr>Context in 2009</vt:lpstr>
      <vt:lpstr>Our strategy, our implematation  and  the results</vt:lpstr>
      <vt:lpstr>First Actions</vt:lpstr>
      <vt:lpstr>PowerPoint Presentation</vt:lpstr>
      <vt:lpstr>First Actions</vt:lpstr>
      <vt:lpstr>First Actions</vt:lpstr>
      <vt:lpstr>First Results: IDEB &amp; Prova Brasil</vt:lpstr>
      <vt:lpstr>Some Results</vt:lpstr>
      <vt:lpstr>PowerPoint Presentation</vt:lpstr>
      <vt:lpstr>PowerPoint Presentation</vt:lpstr>
      <vt:lpstr>PowerPoint Presentation</vt:lpstr>
      <vt:lpstr>IDEB 2011 – Final Year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xperimental Middle Schoo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scolas do Amanhã</vt:lpstr>
      <vt:lpstr> Schools Of Tomorrow                 The Program In Numbers  </vt:lpstr>
      <vt:lpstr>How Does it Work?</vt:lpstr>
      <vt:lpstr>PowerPoint Presentation</vt:lpstr>
      <vt:lpstr>PowerPoint Presentation</vt:lpstr>
      <vt:lpstr>Results</vt:lpstr>
      <vt:lpstr>Biggest challenges and Next Steps</vt:lpstr>
      <vt:lpstr>The goals behind our strategies </vt:lpstr>
      <vt:lpstr> Biggest frustrations </vt:lpstr>
      <vt:lpstr>Biggest challenges</vt:lpstr>
      <vt:lpstr>Next wave of actions</vt:lpstr>
      <vt:lpstr>claudiacostin@rioeduca.net @ClaudiaCosti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1-04-03T12:07:02Z</dcterms:created>
  <dcterms:modified xsi:type="dcterms:W3CDTF">2014-02-21T15:46:3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0165961</vt:lpwstr>
  </property>
</Properties>
</file>